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diagrams/layout9.xml" ContentType="application/vnd.openxmlformats-officedocument.drawingml.diagram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diagrams/drawing9.xml" ContentType="application/vnd.ms-office.drawingml.diagramDrawing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diagrams/quickStyle9.xml" ContentType="application/vnd.openxmlformats-officedocument.drawingml.diagram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charts/chart1.xml" ContentType="application/vnd.openxmlformats-officedocument.drawingml.chart+xml"/>
  <Override PartName="/ppt/diagrams/drawing10.xml" ContentType="application/vnd.ms-office.drawingml.diagramDrawing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diagrams/colors10.xml" ContentType="application/vnd.openxmlformats-officedocument.drawingml.diagramColor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ppt/tags/tag1.xml" ContentType="application/vnd.openxmlformats-officedocument.presentationml.tags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2" r:id="rId2"/>
  </p:sldMasterIdLst>
  <p:notesMasterIdLst>
    <p:notesMasterId r:id="rId18"/>
  </p:notesMasterIdLst>
  <p:sldIdLst>
    <p:sldId id="257" r:id="rId3"/>
    <p:sldId id="391" r:id="rId4"/>
    <p:sldId id="370" r:id="rId5"/>
    <p:sldId id="372" r:id="rId6"/>
    <p:sldId id="374" r:id="rId7"/>
    <p:sldId id="388" r:id="rId8"/>
    <p:sldId id="376" r:id="rId9"/>
    <p:sldId id="378" r:id="rId10"/>
    <p:sldId id="379" r:id="rId11"/>
    <p:sldId id="383" r:id="rId12"/>
    <p:sldId id="384" r:id="rId13"/>
    <p:sldId id="385" r:id="rId14"/>
    <p:sldId id="390" r:id="rId15"/>
    <p:sldId id="386" r:id="rId16"/>
    <p:sldId id="389" r:id="rId17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92D2"/>
    <a:srgbClr val="0091D0"/>
    <a:srgbClr val="0091C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8" autoAdjust="0"/>
    <p:restoredTop sz="94660"/>
  </p:normalViewPr>
  <p:slideViewPr>
    <p:cSldViewPr snapToGrid="0" snapToObjects="1">
      <p:cViewPr>
        <p:scale>
          <a:sx n="94" d="100"/>
          <a:sy n="94" d="100"/>
        </p:scale>
        <p:origin x="-480" y="-324"/>
      </p:cViewPr>
      <p:guideLst>
        <p:guide orient="horz" pos="2188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GBSPLIT2\Desktop\Svasta\10%20Bimasa_Hidro_Plin_Energija%20u%20RH\18%20Solari\HUP_prezentacija%20za%20Mikrosolar\maja-tablica-1-6-2014-v2\analiza-poticaja_prema_tarifa_2007_2012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r-HR"/>
  <c:chart>
    <c:plotArea>
      <c:layout/>
      <c:barChart>
        <c:barDir val="col"/>
        <c:grouping val="stacked"/>
        <c:ser>
          <c:idx val="0"/>
          <c:order val="0"/>
          <c:tx>
            <c:strRef>
              <c:f>'Isplate-HROTE'!$D$3</c:f>
              <c:strCache>
                <c:ptCount val="1"/>
                <c:pt idx="0">
                  <c:v>* EE iz OiE u KN</c:v>
                </c:pt>
              </c:strCache>
            </c:strRef>
          </c:tx>
          <c:cat>
            <c:numRef>
              <c:f>'Isplate-HROTE'!$B$4:$B$10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'Isplate-HROTE'!$D$4:$D$10</c:f>
              <c:numCache>
                <c:formatCode>###,000</c:formatCode>
                <c:ptCount val="7"/>
                <c:pt idx="0">
                  <c:v>67623718.310000002</c:v>
                </c:pt>
                <c:pt idx="1">
                  <c:v>142981911.84999999</c:v>
                </c:pt>
                <c:pt idx="2">
                  <c:v>137778295.08000001</c:v>
                </c:pt>
                <c:pt idx="3">
                  <c:v>78411768.200000003</c:v>
                </c:pt>
                <c:pt idx="4">
                  <c:v>77847509.780000001</c:v>
                </c:pt>
                <c:pt idx="5">
                  <c:v>76608346</c:v>
                </c:pt>
                <c:pt idx="6">
                  <c:v>148332444.33000001</c:v>
                </c:pt>
              </c:numCache>
            </c:numRef>
          </c:val>
        </c:ser>
        <c:ser>
          <c:idx val="1"/>
          <c:order val="1"/>
          <c:tx>
            <c:strRef>
              <c:f>'Isplate-HROTE'!$F$3</c:f>
              <c:strCache>
                <c:ptCount val="1"/>
                <c:pt idx="0">
                  <c:v>** EE po PPC</c:v>
                </c:pt>
              </c:strCache>
            </c:strRef>
          </c:tx>
          <c:cat>
            <c:numRef>
              <c:f>'Isplate-HROTE'!$B$4:$B$10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'Isplate-HROTE'!$F$4:$F$10</c:f>
              <c:numCache>
                <c:formatCode>###,000</c:formatCode>
                <c:ptCount val="7"/>
                <c:pt idx="0">
                  <c:v>125208.3</c:v>
                </c:pt>
                <c:pt idx="1">
                  <c:v>13642151.310000002</c:v>
                </c:pt>
                <c:pt idx="2">
                  <c:v>20755454.07</c:v>
                </c:pt>
                <c:pt idx="3">
                  <c:v>36549402.440000005</c:v>
                </c:pt>
                <c:pt idx="4">
                  <c:v>97935393.159999967</c:v>
                </c:pt>
                <c:pt idx="5">
                  <c:v>190065457.97999999</c:v>
                </c:pt>
                <c:pt idx="6">
                  <c:v>317803398.08999985</c:v>
                </c:pt>
              </c:numCache>
            </c:numRef>
          </c:val>
        </c:ser>
        <c:dLbls/>
        <c:gapWidth val="95"/>
        <c:overlap val="100"/>
        <c:axId val="56257536"/>
        <c:axId val="46392064"/>
      </c:barChart>
      <c:catAx>
        <c:axId val="56257536"/>
        <c:scaling>
          <c:orientation val="minMax"/>
        </c:scaling>
        <c:axPos val="b"/>
        <c:numFmt formatCode="General" sourceLinked="1"/>
        <c:majorTickMark val="none"/>
        <c:tickLblPos val="nextTo"/>
        <c:crossAx val="46392064"/>
        <c:crosses val="autoZero"/>
        <c:auto val="1"/>
        <c:lblAlgn val="ctr"/>
        <c:lblOffset val="100"/>
      </c:catAx>
      <c:valAx>
        <c:axId val="46392064"/>
        <c:scaling>
          <c:orientation val="minMax"/>
        </c:scaling>
        <c:axPos val="l"/>
        <c:majorGridlines>
          <c:spPr>
            <a:ln>
              <a:solidFill>
                <a:schemeClr val="bg1">
                  <a:lumMod val="85000"/>
                </a:schemeClr>
              </a:solidFill>
              <a:prstDash val="dash"/>
            </a:ln>
          </c:spPr>
        </c:majorGridlines>
        <c:numFmt formatCode="###,000" sourceLinked="1"/>
        <c:majorTickMark val="none"/>
        <c:tickLblPos val="nextTo"/>
        <c:crossAx val="56257536"/>
        <c:crosses val="autoZero"/>
        <c:crossBetween val="between"/>
        <c:dispUnits>
          <c:builtInUnit val="millions"/>
          <c:dispUnitsLbl>
            <c:layout/>
          </c:dispUnitsLbl>
        </c:dispUnits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1400"/>
            </a:pPr>
            <a:endParaRPr lang="sr-Latn-CS"/>
          </a:p>
        </c:txPr>
      </c:dTable>
    </c:plotArea>
    <c:plotVisOnly val="1"/>
    <c:dispBlanksAs val="gap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81860E6-71FF-4C5A-8B6F-00D5343A9FBF}">
      <dgm:prSet phldrT="[Tekst]" custT="1"/>
      <dgm:spPr/>
      <dgm:t>
        <a:bodyPr/>
        <a:lstStyle/>
        <a:p>
          <a:pPr algn="just"/>
          <a:r>
            <a:rPr lang="hr-HR" sz="1800" b="1" dirty="0" smtClean="0"/>
            <a:t>Administrativni problemi integracije OIE</a:t>
          </a:r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 sz="1400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 sz="1400"/>
        </a:p>
      </dgm:t>
    </dgm:pt>
    <dgm:pt modelId="{A0682142-CCC4-431E-9CAE-F34F449F517C}">
      <dgm:prSet phldrT="[Tekst]" custT="1"/>
      <dgm:spPr/>
      <dgm:t>
        <a:bodyPr/>
        <a:lstStyle/>
        <a:p>
          <a:r>
            <a:rPr lang="hr-HR" sz="1600" dirty="0" smtClean="0"/>
            <a:t>Komplicirana administrativna procedura stjecanja potrebnih dozvola i suglasnosti vezanih uz stjecanje statusa povlaštenog proizvođača</a:t>
          </a:r>
          <a:endParaRPr lang="hr-HR" sz="1600" dirty="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 sz="1400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 sz="1400"/>
        </a:p>
      </dgm:t>
    </dgm:pt>
    <dgm:pt modelId="{793DF674-969C-4A79-BBAE-50F847DFAEAC}">
      <dgm:prSet custT="1"/>
      <dgm:spPr/>
      <dgm:t>
        <a:bodyPr/>
        <a:lstStyle/>
        <a:p>
          <a:r>
            <a:rPr lang="hr-HR" sz="1600" dirty="0" smtClean="0"/>
            <a:t> Uvođenje lokacija OIE u prostorne planove</a:t>
          </a:r>
          <a:endParaRPr lang="hr-HR" sz="1600" dirty="0"/>
        </a:p>
      </dgm:t>
    </dgm:pt>
    <dgm:pt modelId="{83779049-D859-4726-A5E4-DB7E67A7BFFF}" type="parTrans" cxnId="{A9DE284B-9075-4C54-8448-8DB1056B0C0F}">
      <dgm:prSet/>
      <dgm:spPr/>
      <dgm:t>
        <a:bodyPr/>
        <a:lstStyle/>
        <a:p>
          <a:endParaRPr lang="hr-HR" sz="1400"/>
        </a:p>
      </dgm:t>
    </dgm:pt>
    <dgm:pt modelId="{6343AE43-AC40-43F3-881D-A5019DB4E89A}" type="sibTrans" cxnId="{A9DE284B-9075-4C54-8448-8DB1056B0C0F}">
      <dgm:prSet/>
      <dgm:spPr/>
      <dgm:t>
        <a:bodyPr/>
        <a:lstStyle/>
        <a:p>
          <a:endParaRPr lang="hr-HR" sz="1400"/>
        </a:p>
      </dgm:t>
    </dgm:pt>
    <dgm:pt modelId="{E89B988F-DED6-4B60-BCDC-70DD629C9FE8}">
      <dgm:prSet custT="1"/>
      <dgm:spPr/>
      <dgm:t>
        <a:bodyPr/>
        <a:lstStyle/>
        <a:p>
          <a:r>
            <a:rPr lang="hr-HR" sz="1600" dirty="0" smtClean="0"/>
            <a:t>Otežano donošenje odluka i nadležnosti zbog nejasno definiranih uloga pojedinih institucija odgovornih za dio spomenute procedure, kao i za trajanje samih dozvola</a:t>
          </a:r>
          <a:endParaRPr lang="hr-HR" sz="1600" dirty="0"/>
        </a:p>
      </dgm:t>
    </dgm:pt>
    <dgm:pt modelId="{BAF28B2D-E5DB-4A10-92A7-3D7B496E6E76}" type="parTrans" cxnId="{72D8F70C-466F-492B-B93E-58E30278D24C}">
      <dgm:prSet/>
      <dgm:spPr/>
      <dgm:t>
        <a:bodyPr/>
        <a:lstStyle/>
        <a:p>
          <a:endParaRPr lang="hr-HR" sz="1400"/>
        </a:p>
      </dgm:t>
    </dgm:pt>
    <dgm:pt modelId="{1A35A9D7-DED3-42CF-A817-D1DD83B7636D}" type="sibTrans" cxnId="{72D8F70C-466F-492B-B93E-58E30278D24C}">
      <dgm:prSet/>
      <dgm:spPr/>
      <dgm:t>
        <a:bodyPr/>
        <a:lstStyle/>
        <a:p>
          <a:endParaRPr lang="hr-HR" sz="1400"/>
        </a:p>
      </dgm:t>
    </dgm:pt>
    <dgm:pt modelId="{C02DEF87-6AE3-4D9B-93CB-50F92F974561}">
      <dgm:prSet custT="1"/>
      <dgm:spPr/>
      <dgm:t>
        <a:bodyPr/>
        <a:lstStyle/>
        <a:p>
          <a:r>
            <a:rPr lang="hr-HR" sz="1600" dirty="0" smtClean="0"/>
            <a:t>Nefunkcioniranje mehanizama selekcije kvalitetnih projekata od špekulativnih</a:t>
          </a:r>
          <a:endParaRPr lang="hr-HR" sz="1600" dirty="0"/>
        </a:p>
      </dgm:t>
    </dgm:pt>
    <dgm:pt modelId="{8D85733E-5819-4F98-A5C0-BD4C0877D2D7}" type="parTrans" cxnId="{6A2D027B-B703-417A-AFFB-2DD8B7960C31}">
      <dgm:prSet/>
      <dgm:spPr/>
      <dgm:t>
        <a:bodyPr/>
        <a:lstStyle/>
        <a:p>
          <a:endParaRPr lang="hr-HR" sz="1400"/>
        </a:p>
      </dgm:t>
    </dgm:pt>
    <dgm:pt modelId="{0E9ED7E7-1EE5-48DD-AC17-BB99C8D5A471}" type="sibTrans" cxnId="{6A2D027B-B703-417A-AFFB-2DD8B7960C31}">
      <dgm:prSet/>
      <dgm:spPr/>
      <dgm:t>
        <a:bodyPr/>
        <a:lstStyle/>
        <a:p>
          <a:endParaRPr lang="hr-HR" sz="1400"/>
        </a:p>
      </dgm:t>
    </dgm:pt>
    <dgm:pt modelId="{830E3752-73C5-4059-BD99-102467D2C196}">
      <dgm:prSet custT="1"/>
      <dgm:spPr/>
      <dgm:t>
        <a:bodyPr/>
        <a:lstStyle/>
        <a:p>
          <a:r>
            <a:rPr lang="hr-HR" sz="1600" dirty="0" smtClean="0"/>
            <a:t> Uvođenje javnih natječaja za dodjelu prava priključka i prava služnosti i/ili građenja na zemljištu u državnom vlasništvu bez jasno definirane procedure njihovog provođenja</a:t>
          </a:r>
          <a:endParaRPr lang="hr-HR" sz="1600" dirty="0"/>
        </a:p>
      </dgm:t>
    </dgm:pt>
    <dgm:pt modelId="{06F38288-C2D0-40FF-AED7-1E99A3909A59}" type="parTrans" cxnId="{BAECF972-6718-4E7E-85B4-99AB3EBCD9F4}">
      <dgm:prSet/>
      <dgm:spPr/>
      <dgm:t>
        <a:bodyPr/>
        <a:lstStyle/>
        <a:p>
          <a:endParaRPr lang="hr-HR" sz="1400"/>
        </a:p>
      </dgm:t>
    </dgm:pt>
    <dgm:pt modelId="{DE42A456-FDA6-4F89-894E-13F08C6625C6}" type="sibTrans" cxnId="{BAECF972-6718-4E7E-85B4-99AB3EBCD9F4}">
      <dgm:prSet/>
      <dgm:spPr/>
      <dgm:t>
        <a:bodyPr/>
        <a:lstStyle/>
        <a:p>
          <a:endParaRPr lang="hr-HR" sz="1400"/>
        </a:p>
      </dgm:t>
    </dgm:pt>
    <dgm:pt modelId="{F01AB263-B155-45D5-BFB3-9390B382C60B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BD303235-E40F-4743-A87D-4B51C2056FD9}" type="pres">
      <dgm:prSet presAssocID="{F81860E6-71FF-4C5A-8B6F-00D5343A9FBF}" presName="thickLine" presStyleLbl="alignNode1" presStyleIdx="0" presStyleCnt="1"/>
      <dgm:spPr/>
    </dgm:pt>
    <dgm:pt modelId="{BDA530E2-C6FB-4A1D-B629-D85A509F3011}" type="pres">
      <dgm:prSet presAssocID="{F81860E6-71FF-4C5A-8B6F-00D5343A9FBF}" presName="horz1" presStyleCnt="0"/>
      <dgm:spPr/>
    </dgm:pt>
    <dgm:pt modelId="{2B06F1BA-B75E-4F76-9605-477111A0D397}" type="pres">
      <dgm:prSet presAssocID="{F81860E6-71FF-4C5A-8B6F-00D5343A9FBF}" presName="tx1" presStyleLbl="revTx" presStyleIdx="0" presStyleCnt="6"/>
      <dgm:spPr/>
      <dgm:t>
        <a:bodyPr/>
        <a:lstStyle/>
        <a:p>
          <a:endParaRPr lang="hr-HR"/>
        </a:p>
      </dgm:t>
    </dgm:pt>
    <dgm:pt modelId="{0A5F0104-D84C-4A8E-9740-1894B0D0CFB8}" type="pres">
      <dgm:prSet presAssocID="{F81860E6-71FF-4C5A-8B6F-00D5343A9FBF}" presName="vert1" presStyleCnt="0"/>
      <dgm:spPr/>
    </dgm:pt>
    <dgm:pt modelId="{6BBB97B6-B8E9-4FB1-B0F7-6A839F82AF1E}" type="pres">
      <dgm:prSet presAssocID="{A0682142-CCC4-431E-9CAE-F34F449F517C}" presName="vertSpace2a" presStyleCnt="0"/>
      <dgm:spPr/>
    </dgm:pt>
    <dgm:pt modelId="{4F107203-9B5B-4E02-8591-5B0AE7A964AC}" type="pres">
      <dgm:prSet presAssocID="{A0682142-CCC4-431E-9CAE-F34F449F517C}" presName="horz2" presStyleCnt="0"/>
      <dgm:spPr/>
    </dgm:pt>
    <dgm:pt modelId="{7309B6C2-5318-4AF3-91FD-0BE2B7BDFAAD}" type="pres">
      <dgm:prSet presAssocID="{A0682142-CCC4-431E-9CAE-F34F449F517C}" presName="horzSpace2" presStyleCnt="0"/>
      <dgm:spPr/>
    </dgm:pt>
    <dgm:pt modelId="{2A834A47-C764-4E20-AB54-8706508FD6A8}" type="pres">
      <dgm:prSet presAssocID="{A0682142-CCC4-431E-9CAE-F34F449F517C}" presName="tx2" presStyleLbl="revTx" presStyleIdx="1" presStyleCnt="6"/>
      <dgm:spPr/>
      <dgm:t>
        <a:bodyPr/>
        <a:lstStyle/>
        <a:p>
          <a:endParaRPr lang="hr-HR"/>
        </a:p>
      </dgm:t>
    </dgm:pt>
    <dgm:pt modelId="{14E2268F-707A-4E2C-8680-3B77F2613344}" type="pres">
      <dgm:prSet presAssocID="{A0682142-CCC4-431E-9CAE-F34F449F517C}" presName="vert2" presStyleCnt="0"/>
      <dgm:spPr/>
    </dgm:pt>
    <dgm:pt modelId="{B4753B8E-71C6-4CA7-A906-715510A57B9F}" type="pres">
      <dgm:prSet presAssocID="{A0682142-CCC4-431E-9CAE-F34F449F517C}" presName="thinLine2b" presStyleLbl="callout" presStyleIdx="0" presStyleCnt="5"/>
      <dgm:spPr/>
    </dgm:pt>
    <dgm:pt modelId="{A06A8E4D-C325-4E60-BAB6-1E33C563855E}" type="pres">
      <dgm:prSet presAssocID="{A0682142-CCC4-431E-9CAE-F34F449F517C}" presName="vertSpace2b" presStyleCnt="0"/>
      <dgm:spPr/>
    </dgm:pt>
    <dgm:pt modelId="{64B807E9-21D1-4671-864D-209CCA4687B1}" type="pres">
      <dgm:prSet presAssocID="{793DF674-969C-4A79-BBAE-50F847DFAEAC}" presName="horz2" presStyleCnt="0"/>
      <dgm:spPr/>
    </dgm:pt>
    <dgm:pt modelId="{54B696B3-4A9D-43A3-93BB-064BA394D8B1}" type="pres">
      <dgm:prSet presAssocID="{793DF674-969C-4A79-BBAE-50F847DFAEAC}" presName="horzSpace2" presStyleCnt="0"/>
      <dgm:spPr/>
    </dgm:pt>
    <dgm:pt modelId="{D307A5D9-1932-4838-BF8A-A5C4648C6059}" type="pres">
      <dgm:prSet presAssocID="{793DF674-969C-4A79-BBAE-50F847DFAEAC}" presName="tx2" presStyleLbl="revTx" presStyleIdx="2" presStyleCnt="6" custScaleY="49854"/>
      <dgm:spPr/>
      <dgm:t>
        <a:bodyPr/>
        <a:lstStyle/>
        <a:p>
          <a:endParaRPr lang="hr-HR"/>
        </a:p>
      </dgm:t>
    </dgm:pt>
    <dgm:pt modelId="{5B5D983C-0EE0-4BCC-98D4-36882ECFFCE8}" type="pres">
      <dgm:prSet presAssocID="{793DF674-969C-4A79-BBAE-50F847DFAEAC}" presName="vert2" presStyleCnt="0"/>
      <dgm:spPr/>
    </dgm:pt>
    <dgm:pt modelId="{79E1E7A3-AACF-4E06-A12C-D5EA89CEB3D6}" type="pres">
      <dgm:prSet presAssocID="{793DF674-969C-4A79-BBAE-50F847DFAEAC}" presName="thinLine2b" presStyleLbl="callout" presStyleIdx="1" presStyleCnt="5"/>
      <dgm:spPr/>
    </dgm:pt>
    <dgm:pt modelId="{BB179EB0-D6E4-481C-9B15-3DC1E7F3FD9D}" type="pres">
      <dgm:prSet presAssocID="{793DF674-969C-4A79-BBAE-50F847DFAEAC}" presName="vertSpace2b" presStyleCnt="0"/>
      <dgm:spPr/>
    </dgm:pt>
    <dgm:pt modelId="{AAAAB0D1-9627-460D-8ADD-0B4CA8A59522}" type="pres">
      <dgm:prSet presAssocID="{E89B988F-DED6-4B60-BCDC-70DD629C9FE8}" presName="horz2" presStyleCnt="0"/>
      <dgm:spPr/>
    </dgm:pt>
    <dgm:pt modelId="{3CC84888-B89F-4475-979B-3B64558FEA7B}" type="pres">
      <dgm:prSet presAssocID="{E89B988F-DED6-4B60-BCDC-70DD629C9FE8}" presName="horzSpace2" presStyleCnt="0"/>
      <dgm:spPr/>
    </dgm:pt>
    <dgm:pt modelId="{B02691B9-F0FB-413A-AD35-6A8B11054FF3}" type="pres">
      <dgm:prSet presAssocID="{E89B988F-DED6-4B60-BCDC-70DD629C9FE8}" presName="tx2" presStyleLbl="revTx" presStyleIdx="3" presStyleCnt="6"/>
      <dgm:spPr/>
      <dgm:t>
        <a:bodyPr/>
        <a:lstStyle/>
        <a:p>
          <a:endParaRPr lang="hr-HR"/>
        </a:p>
      </dgm:t>
    </dgm:pt>
    <dgm:pt modelId="{3F2F2A18-B8CD-4D70-8513-556962450819}" type="pres">
      <dgm:prSet presAssocID="{E89B988F-DED6-4B60-BCDC-70DD629C9FE8}" presName="vert2" presStyleCnt="0"/>
      <dgm:spPr/>
    </dgm:pt>
    <dgm:pt modelId="{00CB3D2C-DAE9-4ACD-A2F9-A1CD63FFC58A}" type="pres">
      <dgm:prSet presAssocID="{E89B988F-DED6-4B60-BCDC-70DD629C9FE8}" presName="thinLine2b" presStyleLbl="callout" presStyleIdx="2" presStyleCnt="5"/>
      <dgm:spPr/>
    </dgm:pt>
    <dgm:pt modelId="{59E2ECB6-6F48-4E15-BDC8-04FE69F1300C}" type="pres">
      <dgm:prSet presAssocID="{E89B988F-DED6-4B60-BCDC-70DD629C9FE8}" presName="vertSpace2b" presStyleCnt="0"/>
      <dgm:spPr/>
    </dgm:pt>
    <dgm:pt modelId="{897E5996-42E3-498C-8A70-33423C37D6D1}" type="pres">
      <dgm:prSet presAssocID="{C02DEF87-6AE3-4D9B-93CB-50F92F974561}" presName="horz2" presStyleCnt="0"/>
      <dgm:spPr/>
    </dgm:pt>
    <dgm:pt modelId="{E5728B37-6130-45B7-9460-DD4B9D6FE96A}" type="pres">
      <dgm:prSet presAssocID="{C02DEF87-6AE3-4D9B-93CB-50F92F974561}" presName="horzSpace2" presStyleCnt="0"/>
      <dgm:spPr/>
    </dgm:pt>
    <dgm:pt modelId="{87B99312-6784-45E0-9D70-1F96866B3356}" type="pres">
      <dgm:prSet presAssocID="{C02DEF87-6AE3-4D9B-93CB-50F92F974561}" presName="tx2" presStyleLbl="revTx" presStyleIdx="4" presStyleCnt="6" custScaleY="56243"/>
      <dgm:spPr/>
      <dgm:t>
        <a:bodyPr/>
        <a:lstStyle/>
        <a:p>
          <a:endParaRPr lang="hr-HR"/>
        </a:p>
      </dgm:t>
    </dgm:pt>
    <dgm:pt modelId="{8FE612AE-C104-40DE-8481-5273C9B6ACD8}" type="pres">
      <dgm:prSet presAssocID="{C02DEF87-6AE3-4D9B-93CB-50F92F974561}" presName="vert2" presStyleCnt="0"/>
      <dgm:spPr/>
    </dgm:pt>
    <dgm:pt modelId="{3E6614A6-3F2F-42C6-959D-71EE8C55883B}" type="pres">
      <dgm:prSet presAssocID="{C02DEF87-6AE3-4D9B-93CB-50F92F974561}" presName="thinLine2b" presStyleLbl="callout" presStyleIdx="3" presStyleCnt="5"/>
      <dgm:spPr/>
    </dgm:pt>
    <dgm:pt modelId="{54FC9662-FAC5-49A6-BCF5-BB0CBE00A5E9}" type="pres">
      <dgm:prSet presAssocID="{C02DEF87-6AE3-4D9B-93CB-50F92F974561}" presName="vertSpace2b" presStyleCnt="0"/>
      <dgm:spPr/>
    </dgm:pt>
    <dgm:pt modelId="{8DE456A9-1A11-4C54-A077-E74922DCE9EA}" type="pres">
      <dgm:prSet presAssocID="{830E3752-73C5-4059-BD99-102467D2C196}" presName="horz2" presStyleCnt="0"/>
      <dgm:spPr/>
    </dgm:pt>
    <dgm:pt modelId="{E1762710-7B25-476D-A529-F2D46FDA4123}" type="pres">
      <dgm:prSet presAssocID="{830E3752-73C5-4059-BD99-102467D2C196}" presName="horzSpace2" presStyleCnt="0"/>
      <dgm:spPr/>
    </dgm:pt>
    <dgm:pt modelId="{8432E825-0A52-40B9-BAA1-12D57BEC0C1B}" type="pres">
      <dgm:prSet presAssocID="{830E3752-73C5-4059-BD99-102467D2C196}" presName="tx2" presStyleLbl="revTx" presStyleIdx="5" presStyleCnt="6" custScaleY="135651"/>
      <dgm:spPr/>
      <dgm:t>
        <a:bodyPr/>
        <a:lstStyle/>
        <a:p>
          <a:endParaRPr lang="hr-HR"/>
        </a:p>
      </dgm:t>
    </dgm:pt>
    <dgm:pt modelId="{0D889AC5-3140-4C28-84FC-5E4B0005C2F5}" type="pres">
      <dgm:prSet presAssocID="{830E3752-73C5-4059-BD99-102467D2C196}" presName="vert2" presStyleCnt="0"/>
      <dgm:spPr/>
    </dgm:pt>
    <dgm:pt modelId="{9EDAF2E8-E1B4-49BC-B072-7DF9A32AAB32}" type="pres">
      <dgm:prSet presAssocID="{830E3752-73C5-4059-BD99-102467D2C196}" presName="thinLine2b" presStyleLbl="callout" presStyleIdx="4" presStyleCnt="5"/>
      <dgm:spPr/>
    </dgm:pt>
    <dgm:pt modelId="{EE2BEFB6-C400-492E-8A67-410F1157CFDD}" type="pres">
      <dgm:prSet presAssocID="{830E3752-73C5-4059-BD99-102467D2C196}" presName="vertSpace2b" presStyleCnt="0"/>
      <dgm:spPr/>
    </dgm:pt>
  </dgm:ptLst>
  <dgm:cxnLst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A9DE284B-9075-4C54-8448-8DB1056B0C0F}" srcId="{F81860E6-71FF-4C5A-8B6F-00D5343A9FBF}" destId="{793DF674-969C-4A79-BBAE-50F847DFAEAC}" srcOrd="1" destOrd="0" parTransId="{83779049-D859-4726-A5E4-DB7E67A7BFFF}" sibTransId="{6343AE43-AC40-43F3-881D-A5019DB4E89A}"/>
    <dgm:cxn modelId="{5E065A11-ADF1-40CD-903A-AD60068D6E7D}" type="presOf" srcId="{EE301C1D-F021-49A2-B603-10676C1CA9CF}" destId="{F01AB263-B155-45D5-BFB3-9390B382C60B}" srcOrd="0" destOrd="0" presId="urn:microsoft.com/office/officeart/2008/layout/LinedList"/>
    <dgm:cxn modelId="{9B0BB217-6898-4C04-A823-4C39FD356E6A}" type="presOf" srcId="{793DF674-969C-4A79-BBAE-50F847DFAEAC}" destId="{D307A5D9-1932-4838-BF8A-A5C4648C6059}" srcOrd="0" destOrd="0" presId="urn:microsoft.com/office/officeart/2008/layout/LinedList"/>
    <dgm:cxn modelId="{DF4D3D21-73CB-4FF7-A702-CFDC14FD0D72}" type="presOf" srcId="{E89B988F-DED6-4B60-BCDC-70DD629C9FE8}" destId="{B02691B9-F0FB-413A-AD35-6A8B11054FF3}" srcOrd="0" destOrd="0" presId="urn:microsoft.com/office/officeart/2008/layout/LinedList"/>
    <dgm:cxn modelId="{D6027B51-7288-4407-A43A-13E0E52F52FA}" type="presOf" srcId="{A0682142-CCC4-431E-9CAE-F34F449F517C}" destId="{2A834A47-C764-4E20-AB54-8706508FD6A8}" srcOrd="0" destOrd="0" presId="urn:microsoft.com/office/officeart/2008/layout/LinedList"/>
    <dgm:cxn modelId="{D00D028C-0548-45FE-8BDC-C13DF3E1A63B}" type="presOf" srcId="{830E3752-73C5-4059-BD99-102467D2C196}" destId="{8432E825-0A52-40B9-BAA1-12D57BEC0C1B}" srcOrd="0" destOrd="0" presId="urn:microsoft.com/office/officeart/2008/layout/LinedList"/>
    <dgm:cxn modelId="{F2607CF6-FB46-4442-AB5D-AB7A8399B3E8}" type="presOf" srcId="{C02DEF87-6AE3-4D9B-93CB-50F92F974561}" destId="{87B99312-6784-45E0-9D70-1F96866B3356}" srcOrd="0" destOrd="0" presId="urn:microsoft.com/office/officeart/2008/layout/LinedList"/>
    <dgm:cxn modelId="{EA423005-7E73-44D2-A5EB-C47FF0A6B763}" type="presOf" srcId="{F81860E6-71FF-4C5A-8B6F-00D5343A9FBF}" destId="{2B06F1BA-B75E-4F76-9605-477111A0D397}" srcOrd="0" destOrd="0" presId="urn:microsoft.com/office/officeart/2008/layout/LinedList"/>
    <dgm:cxn modelId="{BAECF972-6718-4E7E-85B4-99AB3EBCD9F4}" srcId="{F81860E6-71FF-4C5A-8B6F-00D5343A9FBF}" destId="{830E3752-73C5-4059-BD99-102467D2C196}" srcOrd="4" destOrd="0" parTransId="{06F38288-C2D0-40FF-AED7-1E99A3909A59}" sibTransId="{DE42A456-FDA6-4F89-894E-13F08C6625C6}"/>
    <dgm:cxn modelId="{6A2D027B-B703-417A-AFFB-2DD8B7960C31}" srcId="{F81860E6-71FF-4C5A-8B6F-00D5343A9FBF}" destId="{C02DEF87-6AE3-4D9B-93CB-50F92F974561}" srcOrd="3" destOrd="0" parTransId="{8D85733E-5819-4F98-A5C0-BD4C0877D2D7}" sibTransId="{0E9ED7E7-1EE5-48DD-AC17-BB99C8D5A471}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72D8F70C-466F-492B-B93E-58E30278D24C}" srcId="{F81860E6-71FF-4C5A-8B6F-00D5343A9FBF}" destId="{E89B988F-DED6-4B60-BCDC-70DD629C9FE8}" srcOrd="2" destOrd="0" parTransId="{BAF28B2D-E5DB-4A10-92A7-3D7B496E6E76}" sibTransId="{1A35A9D7-DED3-42CF-A817-D1DD83B7636D}"/>
    <dgm:cxn modelId="{3834789A-9484-403E-A868-8137FF663D5D}" type="presParOf" srcId="{F01AB263-B155-45D5-BFB3-9390B382C60B}" destId="{BD303235-E40F-4743-A87D-4B51C2056FD9}" srcOrd="0" destOrd="0" presId="urn:microsoft.com/office/officeart/2008/layout/LinedList"/>
    <dgm:cxn modelId="{72CAB1BF-2209-46B9-84AB-BBC0CCB0F288}" type="presParOf" srcId="{F01AB263-B155-45D5-BFB3-9390B382C60B}" destId="{BDA530E2-C6FB-4A1D-B629-D85A509F3011}" srcOrd="1" destOrd="0" presId="urn:microsoft.com/office/officeart/2008/layout/LinedList"/>
    <dgm:cxn modelId="{0354A053-686A-4C4B-BCCE-562444C49021}" type="presParOf" srcId="{BDA530E2-C6FB-4A1D-B629-D85A509F3011}" destId="{2B06F1BA-B75E-4F76-9605-477111A0D397}" srcOrd="0" destOrd="0" presId="urn:microsoft.com/office/officeart/2008/layout/LinedList"/>
    <dgm:cxn modelId="{F8591A28-AFFA-4983-A0A6-FE52CBC6571A}" type="presParOf" srcId="{BDA530E2-C6FB-4A1D-B629-D85A509F3011}" destId="{0A5F0104-D84C-4A8E-9740-1894B0D0CFB8}" srcOrd="1" destOrd="0" presId="urn:microsoft.com/office/officeart/2008/layout/LinedList"/>
    <dgm:cxn modelId="{33F40D70-411D-4059-A11D-BB7D8E6E4C61}" type="presParOf" srcId="{0A5F0104-D84C-4A8E-9740-1894B0D0CFB8}" destId="{6BBB97B6-B8E9-4FB1-B0F7-6A839F82AF1E}" srcOrd="0" destOrd="0" presId="urn:microsoft.com/office/officeart/2008/layout/LinedList"/>
    <dgm:cxn modelId="{E1FC7BA3-36E5-4369-9531-BBF85DEF3B59}" type="presParOf" srcId="{0A5F0104-D84C-4A8E-9740-1894B0D0CFB8}" destId="{4F107203-9B5B-4E02-8591-5B0AE7A964AC}" srcOrd="1" destOrd="0" presId="urn:microsoft.com/office/officeart/2008/layout/LinedList"/>
    <dgm:cxn modelId="{1BE7EA9D-0363-49F7-A324-3733753BDD72}" type="presParOf" srcId="{4F107203-9B5B-4E02-8591-5B0AE7A964AC}" destId="{7309B6C2-5318-4AF3-91FD-0BE2B7BDFAAD}" srcOrd="0" destOrd="0" presId="urn:microsoft.com/office/officeart/2008/layout/LinedList"/>
    <dgm:cxn modelId="{88AC61F1-86C1-4A5C-AD05-14AD544C6892}" type="presParOf" srcId="{4F107203-9B5B-4E02-8591-5B0AE7A964AC}" destId="{2A834A47-C764-4E20-AB54-8706508FD6A8}" srcOrd="1" destOrd="0" presId="urn:microsoft.com/office/officeart/2008/layout/LinedList"/>
    <dgm:cxn modelId="{DDAD142B-ED4B-4CB2-B8A9-4AFEAC03456A}" type="presParOf" srcId="{4F107203-9B5B-4E02-8591-5B0AE7A964AC}" destId="{14E2268F-707A-4E2C-8680-3B77F2613344}" srcOrd="2" destOrd="0" presId="urn:microsoft.com/office/officeart/2008/layout/LinedList"/>
    <dgm:cxn modelId="{2C939070-DBE9-4167-B923-3AED77D4A8FD}" type="presParOf" srcId="{0A5F0104-D84C-4A8E-9740-1894B0D0CFB8}" destId="{B4753B8E-71C6-4CA7-A906-715510A57B9F}" srcOrd="2" destOrd="0" presId="urn:microsoft.com/office/officeart/2008/layout/LinedList"/>
    <dgm:cxn modelId="{D8C76A23-338F-4266-9F81-371CB042C2F1}" type="presParOf" srcId="{0A5F0104-D84C-4A8E-9740-1894B0D0CFB8}" destId="{A06A8E4D-C325-4E60-BAB6-1E33C563855E}" srcOrd="3" destOrd="0" presId="urn:microsoft.com/office/officeart/2008/layout/LinedList"/>
    <dgm:cxn modelId="{F26F3B2C-88DA-477B-B0E5-3AFEA2A4F240}" type="presParOf" srcId="{0A5F0104-D84C-4A8E-9740-1894B0D0CFB8}" destId="{64B807E9-21D1-4671-864D-209CCA4687B1}" srcOrd="4" destOrd="0" presId="urn:microsoft.com/office/officeart/2008/layout/LinedList"/>
    <dgm:cxn modelId="{FC33B962-A1D0-4893-A3BF-BFB557184D60}" type="presParOf" srcId="{64B807E9-21D1-4671-864D-209CCA4687B1}" destId="{54B696B3-4A9D-43A3-93BB-064BA394D8B1}" srcOrd="0" destOrd="0" presId="urn:microsoft.com/office/officeart/2008/layout/LinedList"/>
    <dgm:cxn modelId="{A9CC4E94-1D2A-4BC2-BC27-68242EC901B0}" type="presParOf" srcId="{64B807E9-21D1-4671-864D-209CCA4687B1}" destId="{D307A5D9-1932-4838-BF8A-A5C4648C6059}" srcOrd="1" destOrd="0" presId="urn:microsoft.com/office/officeart/2008/layout/LinedList"/>
    <dgm:cxn modelId="{72C83022-340B-41E3-AA1A-5912E5741DBE}" type="presParOf" srcId="{64B807E9-21D1-4671-864D-209CCA4687B1}" destId="{5B5D983C-0EE0-4BCC-98D4-36882ECFFCE8}" srcOrd="2" destOrd="0" presId="urn:microsoft.com/office/officeart/2008/layout/LinedList"/>
    <dgm:cxn modelId="{671A2AEC-4E94-4499-8EC1-12DAA3E28654}" type="presParOf" srcId="{0A5F0104-D84C-4A8E-9740-1894B0D0CFB8}" destId="{79E1E7A3-AACF-4E06-A12C-D5EA89CEB3D6}" srcOrd="5" destOrd="0" presId="urn:microsoft.com/office/officeart/2008/layout/LinedList"/>
    <dgm:cxn modelId="{7E164F3B-C460-4049-A709-8261B55D6534}" type="presParOf" srcId="{0A5F0104-D84C-4A8E-9740-1894B0D0CFB8}" destId="{BB179EB0-D6E4-481C-9B15-3DC1E7F3FD9D}" srcOrd="6" destOrd="0" presId="urn:microsoft.com/office/officeart/2008/layout/LinedList"/>
    <dgm:cxn modelId="{EA9D3909-A03E-4BCE-BCCE-982356D15D0E}" type="presParOf" srcId="{0A5F0104-D84C-4A8E-9740-1894B0D0CFB8}" destId="{AAAAB0D1-9627-460D-8ADD-0B4CA8A59522}" srcOrd="7" destOrd="0" presId="urn:microsoft.com/office/officeart/2008/layout/LinedList"/>
    <dgm:cxn modelId="{22B24ADD-C9CC-479F-BE46-077A99E2DDED}" type="presParOf" srcId="{AAAAB0D1-9627-460D-8ADD-0B4CA8A59522}" destId="{3CC84888-B89F-4475-979B-3B64558FEA7B}" srcOrd="0" destOrd="0" presId="urn:microsoft.com/office/officeart/2008/layout/LinedList"/>
    <dgm:cxn modelId="{B2C52AA3-39B8-4C8E-A304-C779841F5805}" type="presParOf" srcId="{AAAAB0D1-9627-460D-8ADD-0B4CA8A59522}" destId="{B02691B9-F0FB-413A-AD35-6A8B11054FF3}" srcOrd="1" destOrd="0" presId="urn:microsoft.com/office/officeart/2008/layout/LinedList"/>
    <dgm:cxn modelId="{BF3A98BE-F078-4F53-AC32-65A2BA17C48F}" type="presParOf" srcId="{AAAAB0D1-9627-460D-8ADD-0B4CA8A59522}" destId="{3F2F2A18-B8CD-4D70-8513-556962450819}" srcOrd="2" destOrd="0" presId="urn:microsoft.com/office/officeart/2008/layout/LinedList"/>
    <dgm:cxn modelId="{716F6061-4375-4240-8AF3-66B2E8156915}" type="presParOf" srcId="{0A5F0104-D84C-4A8E-9740-1894B0D0CFB8}" destId="{00CB3D2C-DAE9-4ACD-A2F9-A1CD63FFC58A}" srcOrd="8" destOrd="0" presId="urn:microsoft.com/office/officeart/2008/layout/LinedList"/>
    <dgm:cxn modelId="{48C2FDC9-A766-4361-A101-F6EA0AE0C5B7}" type="presParOf" srcId="{0A5F0104-D84C-4A8E-9740-1894B0D0CFB8}" destId="{59E2ECB6-6F48-4E15-BDC8-04FE69F1300C}" srcOrd="9" destOrd="0" presId="urn:microsoft.com/office/officeart/2008/layout/LinedList"/>
    <dgm:cxn modelId="{03B649C6-4633-496F-B36A-164FF51B8326}" type="presParOf" srcId="{0A5F0104-D84C-4A8E-9740-1894B0D0CFB8}" destId="{897E5996-42E3-498C-8A70-33423C37D6D1}" srcOrd="10" destOrd="0" presId="urn:microsoft.com/office/officeart/2008/layout/LinedList"/>
    <dgm:cxn modelId="{AADE22A9-02C7-4C2F-90C3-229D1F285603}" type="presParOf" srcId="{897E5996-42E3-498C-8A70-33423C37D6D1}" destId="{E5728B37-6130-45B7-9460-DD4B9D6FE96A}" srcOrd="0" destOrd="0" presId="urn:microsoft.com/office/officeart/2008/layout/LinedList"/>
    <dgm:cxn modelId="{E40AA7B4-027F-4934-A49B-3DEA4965D7B2}" type="presParOf" srcId="{897E5996-42E3-498C-8A70-33423C37D6D1}" destId="{87B99312-6784-45E0-9D70-1F96866B3356}" srcOrd="1" destOrd="0" presId="urn:microsoft.com/office/officeart/2008/layout/LinedList"/>
    <dgm:cxn modelId="{789414D1-4B13-42BE-A122-3B55EA0991D4}" type="presParOf" srcId="{897E5996-42E3-498C-8A70-33423C37D6D1}" destId="{8FE612AE-C104-40DE-8481-5273C9B6ACD8}" srcOrd="2" destOrd="0" presId="urn:microsoft.com/office/officeart/2008/layout/LinedList"/>
    <dgm:cxn modelId="{D707550D-D567-4307-ACC2-3F7853675610}" type="presParOf" srcId="{0A5F0104-D84C-4A8E-9740-1894B0D0CFB8}" destId="{3E6614A6-3F2F-42C6-959D-71EE8C55883B}" srcOrd="11" destOrd="0" presId="urn:microsoft.com/office/officeart/2008/layout/LinedList"/>
    <dgm:cxn modelId="{690D1EA0-F184-41BA-88EA-069A1932FD90}" type="presParOf" srcId="{0A5F0104-D84C-4A8E-9740-1894B0D0CFB8}" destId="{54FC9662-FAC5-49A6-BCF5-BB0CBE00A5E9}" srcOrd="12" destOrd="0" presId="urn:microsoft.com/office/officeart/2008/layout/LinedList"/>
    <dgm:cxn modelId="{8F62BFF9-55EF-44FB-B796-09C1D9367C58}" type="presParOf" srcId="{0A5F0104-D84C-4A8E-9740-1894B0D0CFB8}" destId="{8DE456A9-1A11-4C54-A077-E74922DCE9EA}" srcOrd="13" destOrd="0" presId="urn:microsoft.com/office/officeart/2008/layout/LinedList"/>
    <dgm:cxn modelId="{355A624D-4625-4E4D-8BE1-885A7F975068}" type="presParOf" srcId="{8DE456A9-1A11-4C54-A077-E74922DCE9EA}" destId="{E1762710-7B25-476D-A529-F2D46FDA4123}" srcOrd="0" destOrd="0" presId="urn:microsoft.com/office/officeart/2008/layout/LinedList"/>
    <dgm:cxn modelId="{62F19DD7-A6FE-4EAC-A60E-B46753A2A160}" type="presParOf" srcId="{8DE456A9-1A11-4C54-A077-E74922DCE9EA}" destId="{8432E825-0A52-40B9-BAA1-12D57BEC0C1B}" srcOrd="1" destOrd="0" presId="urn:microsoft.com/office/officeart/2008/layout/LinedList"/>
    <dgm:cxn modelId="{920FD92E-733B-4272-ABCA-28B35744414B}" type="presParOf" srcId="{8DE456A9-1A11-4C54-A077-E74922DCE9EA}" destId="{0D889AC5-3140-4C28-84FC-5E4B0005C2F5}" srcOrd="2" destOrd="0" presId="urn:microsoft.com/office/officeart/2008/layout/LinedList"/>
    <dgm:cxn modelId="{D4D1A9A0-1780-4341-8847-4EF808AE3FC2}" type="presParOf" srcId="{0A5F0104-D84C-4A8E-9740-1894B0D0CFB8}" destId="{9EDAF2E8-E1B4-49BC-B072-7DF9A32AAB32}" srcOrd="14" destOrd="0" presId="urn:microsoft.com/office/officeart/2008/layout/LinedList"/>
    <dgm:cxn modelId="{E8FDD160-371E-46CE-8626-8249AC1F40E0}" type="presParOf" srcId="{0A5F0104-D84C-4A8E-9740-1894B0D0CFB8}" destId="{EE2BEFB6-C400-492E-8A67-410F1157CFDD}" srcOrd="15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E578208-7865-418B-B9F0-33C10DD0275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B1E5FDFA-3EB9-44E0-B714-766D59CEF41D}">
      <dgm:prSet phldrT="[Tekst]"/>
      <dgm:spPr/>
      <dgm:t>
        <a:bodyPr/>
        <a:lstStyle/>
        <a:p>
          <a:r>
            <a:rPr lang="hr-HR" b="1" dirty="0" smtClean="0"/>
            <a:t>Završimo do kraja 2018. sve započete projekte OIE </a:t>
          </a:r>
          <a:endParaRPr lang="hr-HR" dirty="0"/>
        </a:p>
      </dgm:t>
    </dgm:pt>
    <dgm:pt modelId="{FD14A194-4F47-497B-B395-ABAFB96FE856}" type="parTrans" cxnId="{C4FCDF5A-8E4A-496A-B7E2-CCF944454BAC}">
      <dgm:prSet/>
      <dgm:spPr/>
      <dgm:t>
        <a:bodyPr/>
        <a:lstStyle/>
        <a:p>
          <a:endParaRPr lang="hr-HR"/>
        </a:p>
      </dgm:t>
    </dgm:pt>
    <dgm:pt modelId="{670E872E-DD6C-4E30-8CA7-F804C7F8BFEF}" type="sibTrans" cxnId="{C4FCDF5A-8E4A-496A-B7E2-CCF944454BAC}">
      <dgm:prSet/>
      <dgm:spPr/>
      <dgm:t>
        <a:bodyPr/>
        <a:lstStyle/>
        <a:p>
          <a:endParaRPr lang="hr-HR"/>
        </a:p>
      </dgm:t>
    </dgm:pt>
    <dgm:pt modelId="{BBDB4030-9A59-4F77-B45D-03E2302AAF6E}">
      <dgm:prSet phldrT="[Tekst]"/>
      <dgm:spPr/>
      <dgm:t>
        <a:bodyPr/>
        <a:lstStyle/>
        <a:p>
          <a:r>
            <a:rPr lang="hr-HR" b="0" dirty="0" smtClean="0"/>
            <a:t>Završimo do kraja 2018. sve započete projekte OIE </a:t>
          </a:r>
          <a:r>
            <a:rPr lang="hr-HR" dirty="0" smtClean="0"/>
            <a:t>kojima je MINGO izdao EO, time ćemo vratiti povjerenje investitorima u mogućnost i sigurnost investiranja u RH i omogućiti preko 5 milijardi HRK investicija.</a:t>
          </a:r>
          <a:endParaRPr lang="hr-HR" dirty="0"/>
        </a:p>
      </dgm:t>
    </dgm:pt>
    <dgm:pt modelId="{278E23D3-2523-4A1E-AA5E-D52B002C6DB6}" type="parTrans" cxnId="{A970D64C-1181-4BB3-9B10-D075218F49E5}">
      <dgm:prSet/>
      <dgm:spPr/>
      <dgm:t>
        <a:bodyPr/>
        <a:lstStyle/>
        <a:p>
          <a:endParaRPr lang="hr-HR"/>
        </a:p>
      </dgm:t>
    </dgm:pt>
    <dgm:pt modelId="{12C7FD40-0DF0-40DE-9D05-B713D8F49510}" type="sibTrans" cxnId="{A970D64C-1181-4BB3-9B10-D075218F49E5}">
      <dgm:prSet/>
      <dgm:spPr/>
      <dgm:t>
        <a:bodyPr/>
        <a:lstStyle/>
        <a:p>
          <a:endParaRPr lang="hr-HR"/>
        </a:p>
      </dgm:t>
    </dgm:pt>
    <dgm:pt modelId="{07DBC982-CAA8-4673-89C3-2B7994D66AAE}">
      <dgm:prSet phldrT="[Tekst]"/>
      <dgm:spPr/>
      <dgm:t>
        <a:bodyPr/>
        <a:lstStyle/>
        <a:p>
          <a:r>
            <a:rPr lang="hr-HR" b="1" dirty="0" smtClean="0"/>
            <a:t>Uvedimo 20.000 </a:t>
          </a:r>
          <a:r>
            <a:rPr lang="hr-HR" b="1" dirty="0" err="1" smtClean="0"/>
            <a:t>mikrosolara</a:t>
          </a:r>
          <a:r>
            <a:rPr lang="hr-HR" b="1" dirty="0" smtClean="0"/>
            <a:t> (do 5KW) do kraja 2015</a:t>
          </a:r>
          <a:r>
            <a:rPr lang="hr-HR" dirty="0" smtClean="0"/>
            <a:t>. </a:t>
          </a:r>
          <a:endParaRPr lang="hr-HR" dirty="0"/>
        </a:p>
      </dgm:t>
    </dgm:pt>
    <dgm:pt modelId="{B6A136C7-F574-4C2B-A727-F58E08B0F0C6}" type="parTrans" cxnId="{FCA0485E-5DB3-4D37-85F1-B3ACAB2504A5}">
      <dgm:prSet/>
      <dgm:spPr/>
      <dgm:t>
        <a:bodyPr/>
        <a:lstStyle/>
        <a:p>
          <a:endParaRPr lang="hr-HR"/>
        </a:p>
      </dgm:t>
    </dgm:pt>
    <dgm:pt modelId="{D89D7B01-F788-47CF-B66D-A9C1B7932DF9}" type="sibTrans" cxnId="{FCA0485E-5DB3-4D37-85F1-B3ACAB2504A5}">
      <dgm:prSet/>
      <dgm:spPr/>
      <dgm:t>
        <a:bodyPr/>
        <a:lstStyle/>
        <a:p>
          <a:endParaRPr lang="hr-HR"/>
        </a:p>
      </dgm:t>
    </dgm:pt>
    <dgm:pt modelId="{371A66F6-79CF-40C6-A63D-F3E17B1E8619}">
      <dgm:prSet phldrT="[Tekst]"/>
      <dgm:spPr/>
      <dgm:t>
        <a:bodyPr/>
        <a:lstStyle/>
        <a:p>
          <a:r>
            <a:rPr lang="hr-HR" b="0" dirty="0" smtClean="0"/>
            <a:t>Uvedimo 20.000 </a:t>
          </a:r>
          <a:r>
            <a:rPr lang="hr-HR" b="0" dirty="0" err="1" smtClean="0"/>
            <a:t>mikrosolara</a:t>
          </a:r>
          <a:r>
            <a:rPr lang="hr-HR" b="0" dirty="0" smtClean="0"/>
            <a:t> (do 5KW) do kraja 2015. </a:t>
          </a:r>
          <a:r>
            <a:rPr lang="hr-HR" dirty="0" smtClean="0"/>
            <a:t>uz jednokratnu subvenciju  i 100.000 do kraja 2020. Prva faza uvođenja se odnosi na  </a:t>
          </a:r>
          <a:r>
            <a:rPr lang="hr-HR" dirty="0" err="1" smtClean="0"/>
            <a:t>mikropoduzetnike</a:t>
          </a:r>
          <a:r>
            <a:rPr lang="hr-HR" dirty="0" smtClean="0"/>
            <a:t> čime im olakšavamo poslovanje i otvaramo investicije od preko 1 milijarde HRK domaćeg kapitala i zaposlenja preko 2000 radnika u sektoru obrta i malog poduzetništva. Nakon toga se proširuje na kućanstva.</a:t>
          </a:r>
          <a:endParaRPr lang="hr-HR" dirty="0"/>
        </a:p>
      </dgm:t>
    </dgm:pt>
    <dgm:pt modelId="{B62C1B8E-898E-45B6-A6CA-92C2B5BF566F}" type="parTrans" cxnId="{31D76CD9-420A-491E-B51C-DF10EBD38195}">
      <dgm:prSet/>
      <dgm:spPr/>
      <dgm:t>
        <a:bodyPr/>
        <a:lstStyle/>
        <a:p>
          <a:endParaRPr lang="hr-HR"/>
        </a:p>
      </dgm:t>
    </dgm:pt>
    <dgm:pt modelId="{6B9F059B-91C7-45CE-813E-F2EBCBA2342A}" type="sibTrans" cxnId="{31D76CD9-420A-491E-B51C-DF10EBD38195}">
      <dgm:prSet/>
      <dgm:spPr/>
      <dgm:t>
        <a:bodyPr/>
        <a:lstStyle/>
        <a:p>
          <a:endParaRPr lang="hr-HR"/>
        </a:p>
      </dgm:t>
    </dgm:pt>
    <dgm:pt modelId="{4471E8B6-C021-4815-9ED2-5DDEADECA202}">
      <dgm:prSet phldrT="[Tekst]"/>
      <dgm:spPr/>
      <dgm:t>
        <a:bodyPr/>
        <a:lstStyle/>
        <a:p>
          <a:r>
            <a:rPr lang="hr-HR" b="1" dirty="0" smtClean="0"/>
            <a:t>Izgradimo barem 250MW regulacijske elektrane sa brodskim motorima </a:t>
          </a:r>
          <a:endParaRPr lang="hr-HR" dirty="0"/>
        </a:p>
      </dgm:t>
    </dgm:pt>
    <dgm:pt modelId="{D745559A-1A49-40E7-ACB8-7B682C124B57}" type="parTrans" cxnId="{42988B7E-A6F0-4575-B454-3494CB4DDEBB}">
      <dgm:prSet/>
      <dgm:spPr/>
      <dgm:t>
        <a:bodyPr/>
        <a:lstStyle/>
        <a:p>
          <a:endParaRPr lang="hr-HR"/>
        </a:p>
      </dgm:t>
    </dgm:pt>
    <dgm:pt modelId="{F3D23FA7-6431-47F7-8696-38BDC23DD05E}" type="sibTrans" cxnId="{42988B7E-A6F0-4575-B454-3494CB4DDEBB}">
      <dgm:prSet/>
      <dgm:spPr/>
      <dgm:t>
        <a:bodyPr/>
        <a:lstStyle/>
        <a:p>
          <a:endParaRPr lang="hr-HR"/>
        </a:p>
      </dgm:t>
    </dgm:pt>
    <dgm:pt modelId="{9935F39E-469D-443D-8ADA-51F954FDBB98}">
      <dgm:prSet phldrT="[Tekst]"/>
      <dgm:spPr/>
      <dgm:t>
        <a:bodyPr/>
        <a:lstStyle/>
        <a:p>
          <a:r>
            <a:rPr lang="hr-HR" b="0" dirty="0" smtClean="0"/>
            <a:t>Izgradimo </a:t>
          </a:r>
          <a:r>
            <a:rPr lang="hr-HR" b="0" dirty="0" smtClean="0"/>
            <a:t>barem 250MW regulacijske elektrane sa brodskim motorima </a:t>
          </a:r>
          <a:r>
            <a:rPr lang="hr-HR" dirty="0" smtClean="0"/>
            <a:t>izgrađenim u domaćim tvrtkama pogonjene na tekuće biogorivo ili plin. Domaća industrija može sudjelovati sa 100% učešća i stvoriti novi izvozni proizvod.</a:t>
          </a:r>
          <a:endParaRPr lang="hr-HR" dirty="0"/>
        </a:p>
      </dgm:t>
    </dgm:pt>
    <dgm:pt modelId="{132B6836-D850-4D62-AD1E-2617408ACA6A}" type="parTrans" cxnId="{E499E7AF-0727-432C-A6A9-3706C897FEF0}">
      <dgm:prSet/>
      <dgm:spPr/>
      <dgm:t>
        <a:bodyPr/>
        <a:lstStyle/>
        <a:p>
          <a:endParaRPr lang="hr-HR"/>
        </a:p>
      </dgm:t>
    </dgm:pt>
    <dgm:pt modelId="{93E144C9-EE55-4185-91F8-A491CF7A0B7B}" type="sibTrans" cxnId="{E499E7AF-0727-432C-A6A9-3706C897FEF0}">
      <dgm:prSet/>
      <dgm:spPr/>
      <dgm:t>
        <a:bodyPr/>
        <a:lstStyle/>
        <a:p>
          <a:endParaRPr lang="hr-HR"/>
        </a:p>
      </dgm:t>
    </dgm:pt>
    <dgm:pt modelId="{D5C4C734-FCFE-4C97-BBA7-CE97178D3493}">
      <dgm:prSet phldrT="[Tekst]"/>
      <dgm:spPr/>
      <dgm:t>
        <a:bodyPr/>
        <a:lstStyle/>
        <a:p>
          <a:r>
            <a:rPr lang="hr-HR" b="1" dirty="0" smtClean="0"/>
            <a:t>Izgradimo  novu zatvorenu RHE Jasenica snage 300MW do 2020</a:t>
          </a:r>
          <a:r>
            <a:rPr lang="hr-HR" dirty="0" smtClean="0"/>
            <a:t>. </a:t>
          </a:r>
          <a:endParaRPr lang="hr-HR" dirty="0"/>
        </a:p>
      </dgm:t>
    </dgm:pt>
    <dgm:pt modelId="{5556804C-D49A-4C2D-820A-D6B4F1FC834B}" type="parTrans" cxnId="{0D81AEE2-023F-4CD1-8BC9-468F2A098C60}">
      <dgm:prSet/>
      <dgm:spPr/>
      <dgm:t>
        <a:bodyPr/>
        <a:lstStyle/>
        <a:p>
          <a:endParaRPr lang="hr-HR"/>
        </a:p>
      </dgm:t>
    </dgm:pt>
    <dgm:pt modelId="{1CFBE3E8-B453-4276-AE4E-20E38283D381}" type="sibTrans" cxnId="{0D81AEE2-023F-4CD1-8BC9-468F2A098C60}">
      <dgm:prSet/>
      <dgm:spPr/>
      <dgm:t>
        <a:bodyPr/>
        <a:lstStyle/>
        <a:p>
          <a:endParaRPr lang="hr-HR"/>
        </a:p>
      </dgm:t>
    </dgm:pt>
    <dgm:pt modelId="{D3B4ADC5-EDBB-46DB-BCF6-344A2B89A290}">
      <dgm:prSet phldrT="[Tekst]"/>
      <dgm:spPr/>
      <dgm:t>
        <a:bodyPr/>
        <a:lstStyle/>
        <a:p>
          <a:r>
            <a:rPr lang="hr-HR" b="0" dirty="0" smtClean="0"/>
            <a:t>Izgradimo  novu zatvorenu RHE Jasenica snage 300MW do 2020. </a:t>
          </a:r>
          <a:r>
            <a:rPr lang="hr-HR" dirty="0" smtClean="0"/>
            <a:t>i proširenjem do maksimalno 1050MW  u 2025. Hrvatska industrija može pružiti preko 80% domaćeg učešća. Rješavamo se nekoliko gorućih ekoloških problema-neka se uključe i EU institucije/fondovi.</a:t>
          </a:r>
          <a:endParaRPr lang="hr-HR" dirty="0"/>
        </a:p>
      </dgm:t>
    </dgm:pt>
    <dgm:pt modelId="{5C98CAD5-7AB0-40D2-9FA1-6EE56BA23519}" type="parTrans" cxnId="{A1A72C2C-EDA8-4291-8170-B61904535362}">
      <dgm:prSet/>
      <dgm:spPr/>
      <dgm:t>
        <a:bodyPr/>
        <a:lstStyle/>
        <a:p>
          <a:endParaRPr lang="hr-HR"/>
        </a:p>
      </dgm:t>
    </dgm:pt>
    <dgm:pt modelId="{90F8048A-5159-4969-84B7-ED2822025F2C}" type="sibTrans" cxnId="{A1A72C2C-EDA8-4291-8170-B61904535362}">
      <dgm:prSet/>
      <dgm:spPr/>
      <dgm:t>
        <a:bodyPr/>
        <a:lstStyle/>
        <a:p>
          <a:endParaRPr lang="hr-HR"/>
        </a:p>
      </dgm:t>
    </dgm:pt>
    <dgm:pt modelId="{C988FB4A-C1A8-4991-8E9E-F8705600E9E9}" type="pres">
      <dgm:prSet presAssocID="{AE578208-7865-418B-B9F0-33C10DD0275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4CC9D32D-9706-4124-98E9-1A86C734BFFA}" type="pres">
      <dgm:prSet presAssocID="{B1E5FDFA-3EB9-44E0-B714-766D59CEF41D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5274722-49C0-4DDD-95B6-E802EA58F1A8}" type="pres">
      <dgm:prSet presAssocID="{B1E5FDFA-3EB9-44E0-B714-766D59CEF41D}" presName="childText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273A75C-9565-4D68-995F-DE921B3AAE3D}" type="pres">
      <dgm:prSet presAssocID="{07DBC982-CAA8-4673-89C3-2B7994D66AAE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036C995E-9C59-4217-AFB4-9343122A0DC1}" type="pres">
      <dgm:prSet presAssocID="{07DBC982-CAA8-4673-89C3-2B7994D66AAE}" presName="childText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7886AEDC-CD4A-4988-A21F-723F11D405BB}" type="pres">
      <dgm:prSet presAssocID="{4471E8B6-C021-4815-9ED2-5DDEADECA202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09E0A8E3-2162-424B-8338-D1E6D4373957}" type="pres">
      <dgm:prSet presAssocID="{4471E8B6-C021-4815-9ED2-5DDEADECA202}" presName="childText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5EF30DC-DFC4-4E41-934A-A494405D0125}" type="pres">
      <dgm:prSet presAssocID="{D5C4C734-FCFE-4C97-BBA7-CE97178D3493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B8229CB8-B9FA-49D0-AD0D-5DD6E424D1D3}" type="pres">
      <dgm:prSet presAssocID="{D5C4C734-FCFE-4C97-BBA7-CE97178D3493}" presName="childText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A1A72C2C-EDA8-4291-8170-B61904535362}" srcId="{D5C4C734-FCFE-4C97-BBA7-CE97178D3493}" destId="{D3B4ADC5-EDBB-46DB-BCF6-344A2B89A290}" srcOrd="0" destOrd="0" parTransId="{5C98CAD5-7AB0-40D2-9FA1-6EE56BA23519}" sibTransId="{90F8048A-5159-4969-84B7-ED2822025F2C}"/>
    <dgm:cxn modelId="{6BE007E2-6422-4DB7-997A-D85F9BC0BC4B}" type="presOf" srcId="{371A66F6-79CF-40C6-A63D-F3E17B1E8619}" destId="{036C995E-9C59-4217-AFB4-9343122A0DC1}" srcOrd="0" destOrd="0" presId="urn:microsoft.com/office/officeart/2005/8/layout/vList2"/>
    <dgm:cxn modelId="{2BD464F4-2E3C-4400-BAAA-BE4F81540553}" type="presOf" srcId="{9935F39E-469D-443D-8ADA-51F954FDBB98}" destId="{09E0A8E3-2162-424B-8338-D1E6D4373957}" srcOrd="0" destOrd="0" presId="urn:microsoft.com/office/officeart/2005/8/layout/vList2"/>
    <dgm:cxn modelId="{AF2A77DF-024B-4658-A59F-FA71CAFADEE6}" type="presOf" srcId="{D5C4C734-FCFE-4C97-BBA7-CE97178D3493}" destId="{85EF30DC-DFC4-4E41-934A-A494405D0125}" srcOrd="0" destOrd="0" presId="urn:microsoft.com/office/officeart/2005/8/layout/vList2"/>
    <dgm:cxn modelId="{AE7E6E05-B233-4022-B345-90FC8BCC0831}" type="presOf" srcId="{BBDB4030-9A59-4F77-B45D-03E2302AAF6E}" destId="{25274722-49C0-4DDD-95B6-E802EA58F1A8}" srcOrd="0" destOrd="0" presId="urn:microsoft.com/office/officeart/2005/8/layout/vList2"/>
    <dgm:cxn modelId="{31D76CD9-420A-491E-B51C-DF10EBD38195}" srcId="{07DBC982-CAA8-4673-89C3-2B7994D66AAE}" destId="{371A66F6-79CF-40C6-A63D-F3E17B1E8619}" srcOrd="0" destOrd="0" parTransId="{B62C1B8E-898E-45B6-A6CA-92C2B5BF566F}" sibTransId="{6B9F059B-91C7-45CE-813E-F2EBCBA2342A}"/>
    <dgm:cxn modelId="{E499E7AF-0727-432C-A6A9-3706C897FEF0}" srcId="{4471E8B6-C021-4815-9ED2-5DDEADECA202}" destId="{9935F39E-469D-443D-8ADA-51F954FDBB98}" srcOrd="0" destOrd="0" parTransId="{132B6836-D850-4D62-AD1E-2617408ACA6A}" sibTransId="{93E144C9-EE55-4185-91F8-A491CF7A0B7B}"/>
    <dgm:cxn modelId="{0D81AEE2-023F-4CD1-8BC9-468F2A098C60}" srcId="{AE578208-7865-418B-B9F0-33C10DD02752}" destId="{D5C4C734-FCFE-4C97-BBA7-CE97178D3493}" srcOrd="3" destOrd="0" parTransId="{5556804C-D49A-4C2D-820A-D6B4F1FC834B}" sibTransId="{1CFBE3E8-B453-4276-AE4E-20E38283D381}"/>
    <dgm:cxn modelId="{58BF1803-06D1-4DF0-91A7-BC7462B0A32A}" type="presOf" srcId="{B1E5FDFA-3EB9-44E0-B714-766D59CEF41D}" destId="{4CC9D32D-9706-4124-98E9-1A86C734BFFA}" srcOrd="0" destOrd="0" presId="urn:microsoft.com/office/officeart/2005/8/layout/vList2"/>
    <dgm:cxn modelId="{A970D64C-1181-4BB3-9B10-D075218F49E5}" srcId="{B1E5FDFA-3EB9-44E0-B714-766D59CEF41D}" destId="{BBDB4030-9A59-4F77-B45D-03E2302AAF6E}" srcOrd="0" destOrd="0" parTransId="{278E23D3-2523-4A1E-AA5E-D52B002C6DB6}" sibTransId="{12C7FD40-0DF0-40DE-9D05-B713D8F49510}"/>
    <dgm:cxn modelId="{1C566233-9CD4-4F93-82E3-B68D859F0230}" type="presOf" srcId="{4471E8B6-C021-4815-9ED2-5DDEADECA202}" destId="{7886AEDC-CD4A-4988-A21F-723F11D405BB}" srcOrd="0" destOrd="0" presId="urn:microsoft.com/office/officeart/2005/8/layout/vList2"/>
    <dgm:cxn modelId="{42988B7E-A6F0-4575-B454-3494CB4DDEBB}" srcId="{AE578208-7865-418B-B9F0-33C10DD02752}" destId="{4471E8B6-C021-4815-9ED2-5DDEADECA202}" srcOrd="2" destOrd="0" parTransId="{D745559A-1A49-40E7-ACB8-7B682C124B57}" sibTransId="{F3D23FA7-6431-47F7-8696-38BDC23DD05E}"/>
    <dgm:cxn modelId="{0DDDD239-F8C7-4063-B58A-F49DD40B8985}" type="presOf" srcId="{07DBC982-CAA8-4673-89C3-2B7994D66AAE}" destId="{2273A75C-9565-4D68-995F-DE921B3AAE3D}" srcOrd="0" destOrd="0" presId="urn:microsoft.com/office/officeart/2005/8/layout/vList2"/>
    <dgm:cxn modelId="{ABB969E2-E1DB-4033-90FA-771ACDE651FA}" type="presOf" srcId="{AE578208-7865-418B-B9F0-33C10DD02752}" destId="{C988FB4A-C1A8-4991-8E9E-F8705600E9E9}" srcOrd="0" destOrd="0" presId="urn:microsoft.com/office/officeart/2005/8/layout/vList2"/>
    <dgm:cxn modelId="{C4FCDF5A-8E4A-496A-B7E2-CCF944454BAC}" srcId="{AE578208-7865-418B-B9F0-33C10DD02752}" destId="{B1E5FDFA-3EB9-44E0-B714-766D59CEF41D}" srcOrd="0" destOrd="0" parTransId="{FD14A194-4F47-497B-B395-ABAFB96FE856}" sibTransId="{670E872E-DD6C-4E30-8CA7-F804C7F8BFEF}"/>
    <dgm:cxn modelId="{FCA0485E-5DB3-4D37-85F1-B3ACAB2504A5}" srcId="{AE578208-7865-418B-B9F0-33C10DD02752}" destId="{07DBC982-CAA8-4673-89C3-2B7994D66AAE}" srcOrd="1" destOrd="0" parTransId="{B6A136C7-F574-4C2B-A727-F58E08B0F0C6}" sibTransId="{D89D7B01-F788-47CF-B66D-A9C1B7932DF9}"/>
    <dgm:cxn modelId="{05152BBE-BCC5-4009-A5BD-16DD292FC0F1}" type="presOf" srcId="{D3B4ADC5-EDBB-46DB-BCF6-344A2B89A290}" destId="{B8229CB8-B9FA-49D0-AD0D-5DD6E424D1D3}" srcOrd="0" destOrd="0" presId="urn:microsoft.com/office/officeart/2005/8/layout/vList2"/>
    <dgm:cxn modelId="{AA1AB011-86ED-401D-B32D-4A90C4880F28}" type="presParOf" srcId="{C988FB4A-C1A8-4991-8E9E-F8705600E9E9}" destId="{4CC9D32D-9706-4124-98E9-1A86C734BFFA}" srcOrd="0" destOrd="0" presId="urn:microsoft.com/office/officeart/2005/8/layout/vList2"/>
    <dgm:cxn modelId="{C0EE06DB-C104-4017-A9AB-9D26B11E4881}" type="presParOf" srcId="{C988FB4A-C1A8-4991-8E9E-F8705600E9E9}" destId="{25274722-49C0-4DDD-95B6-E802EA58F1A8}" srcOrd="1" destOrd="0" presId="urn:microsoft.com/office/officeart/2005/8/layout/vList2"/>
    <dgm:cxn modelId="{CB3629F6-52C0-4E40-9718-F5E81D12843E}" type="presParOf" srcId="{C988FB4A-C1A8-4991-8E9E-F8705600E9E9}" destId="{2273A75C-9565-4D68-995F-DE921B3AAE3D}" srcOrd="2" destOrd="0" presId="urn:microsoft.com/office/officeart/2005/8/layout/vList2"/>
    <dgm:cxn modelId="{F5EB3503-3A97-40E3-8E6B-C9CD499E4BC4}" type="presParOf" srcId="{C988FB4A-C1A8-4991-8E9E-F8705600E9E9}" destId="{036C995E-9C59-4217-AFB4-9343122A0DC1}" srcOrd="3" destOrd="0" presId="urn:microsoft.com/office/officeart/2005/8/layout/vList2"/>
    <dgm:cxn modelId="{34E7B2CF-7C96-42E8-82A5-6E84BD7B21F4}" type="presParOf" srcId="{C988FB4A-C1A8-4991-8E9E-F8705600E9E9}" destId="{7886AEDC-CD4A-4988-A21F-723F11D405BB}" srcOrd="4" destOrd="0" presId="urn:microsoft.com/office/officeart/2005/8/layout/vList2"/>
    <dgm:cxn modelId="{5F09D5CE-85E4-481B-A212-1C461291A2A9}" type="presParOf" srcId="{C988FB4A-C1A8-4991-8E9E-F8705600E9E9}" destId="{09E0A8E3-2162-424B-8338-D1E6D4373957}" srcOrd="5" destOrd="0" presId="urn:microsoft.com/office/officeart/2005/8/layout/vList2"/>
    <dgm:cxn modelId="{75F8F1A8-2013-4598-BEE8-35C876550650}" type="presParOf" srcId="{C988FB4A-C1A8-4991-8E9E-F8705600E9E9}" destId="{85EF30DC-DFC4-4E41-934A-A494405D0125}" srcOrd="6" destOrd="0" presId="urn:microsoft.com/office/officeart/2005/8/layout/vList2"/>
    <dgm:cxn modelId="{37BD7F7A-D94B-4F99-95A4-A7C7F73B406E}" type="presParOf" srcId="{C988FB4A-C1A8-4991-8E9E-F8705600E9E9}" destId="{B8229CB8-B9FA-49D0-AD0D-5DD6E424D1D3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81860E6-71FF-4C5A-8B6F-00D5343A9FBF}">
      <dgm:prSet phldrT="[Tekst]" custT="1"/>
      <dgm:spPr/>
      <dgm:t>
        <a:bodyPr/>
        <a:lstStyle/>
        <a:p>
          <a:pPr algn="just"/>
          <a:r>
            <a:rPr lang="hr-HR" sz="1800" b="1" dirty="0" smtClean="0"/>
            <a:t>Tehnički problemi</a:t>
          </a:r>
          <a:endParaRPr lang="hr-HR" sz="1800" b="1" dirty="0"/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 sz="1600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 sz="1600"/>
        </a:p>
      </dgm:t>
    </dgm:pt>
    <dgm:pt modelId="{A0682142-CCC4-431E-9CAE-F34F449F517C}">
      <dgm:prSet phldrT="[Tekst]" custT="1"/>
      <dgm:spPr/>
      <dgm:t>
        <a:bodyPr/>
        <a:lstStyle/>
        <a:p>
          <a:r>
            <a:rPr lang="hr-HR" sz="1600" dirty="0" smtClean="0"/>
            <a:t>Ograničena raspoloživa regulacijska snaga u sustavu (P/f sekundarna i tercijarna regulacijska snaga)</a:t>
          </a:r>
          <a:endParaRPr lang="hr-HR" sz="1600" dirty="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 sz="1600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 sz="1600"/>
        </a:p>
      </dgm:t>
    </dgm:pt>
    <dgm:pt modelId="{4CE199FE-97D4-4F9C-8FE9-D2783DC5D969}">
      <dgm:prSet custT="1"/>
      <dgm:spPr/>
      <dgm:t>
        <a:bodyPr/>
        <a:lstStyle/>
        <a:p>
          <a:r>
            <a:rPr lang="hr-HR" sz="1600" dirty="0" smtClean="0"/>
            <a:t>Veliki pritisak na HOPS u vidu broja zahtjeva za priključak</a:t>
          </a:r>
          <a:endParaRPr lang="hr-HR" sz="1600" dirty="0"/>
        </a:p>
      </dgm:t>
    </dgm:pt>
    <dgm:pt modelId="{1BB2E551-51DE-4965-9F57-1FC647AF720D}" type="parTrans" cxnId="{44B1B2F4-02BC-4B73-9C69-83C6B1E2A370}">
      <dgm:prSet/>
      <dgm:spPr/>
      <dgm:t>
        <a:bodyPr/>
        <a:lstStyle/>
        <a:p>
          <a:endParaRPr lang="hr-HR" sz="1600"/>
        </a:p>
      </dgm:t>
    </dgm:pt>
    <dgm:pt modelId="{9E9271B7-E4F8-43BC-AF03-7FB284F3F54D}" type="sibTrans" cxnId="{44B1B2F4-02BC-4B73-9C69-83C6B1E2A370}">
      <dgm:prSet/>
      <dgm:spPr/>
      <dgm:t>
        <a:bodyPr/>
        <a:lstStyle/>
        <a:p>
          <a:endParaRPr lang="hr-HR" sz="1600"/>
        </a:p>
      </dgm:t>
    </dgm:pt>
    <dgm:pt modelId="{B7D36DE7-9B4E-4616-A2A5-417594971D0C}">
      <dgm:prSet custT="1"/>
      <dgm:spPr/>
      <dgm:t>
        <a:bodyPr/>
        <a:lstStyle/>
        <a:p>
          <a:r>
            <a:rPr lang="hr-HR" sz="1600" dirty="0" smtClean="0"/>
            <a:t>Izostanak uređenog sustava pružanja pomoćnih usluga i usluga uravnoteženja unutar elektroenergetskog sustava</a:t>
          </a:r>
          <a:endParaRPr lang="hr-HR" sz="1600" dirty="0"/>
        </a:p>
      </dgm:t>
    </dgm:pt>
    <dgm:pt modelId="{83E241F4-E88F-4A17-9DAB-068C15A70352}" type="parTrans" cxnId="{CABBA47E-BED2-4DDF-A623-EBFBEDD83B60}">
      <dgm:prSet/>
      <dgm:spPr/>
      <dgm:t>
        <a:bodyPr/>
        <a:lstStyle/>
        <a:p>
          <a:endParaRPr lang="hr-HR" sz="1600"/>
        </a:p>
      </dgm:t>
    </dgm:pt>
    <dgm:pt modelId="{9C07FBA3-E38E-4DDC-BBFD-0D7AB5D5558B}" type="sibTrans" cxnId="{CABBA47E-BED2-4DDF-A623-EBFBEDD83B60}">
      <dgm:prSet/>
      <dgm:spPr/>
      <dgm:t>
        <a:bodyPr/>
        <a:lstStyle/>
        <a:p>
          <a:endParaRPr lang="hr-HR" sz="1600"/>
        </a:p>
      </dgm:t>
    </dgm:pt>
    <dgm:pt modelId="{218191BA-9485-4021-84C1-CB57C23A388B}">
      <dgm:prSet custT="1"/>
      <dgm:spPr/>
      <dgm:t>
        <a:bodyPr/>
        <a:lstStyle/>
        <a:p>
          <a:r>
            <a:rPr lang="hr-HR" sz="1600" dirty="0" smtClean="0"/>
            <a:t>Nepostojanje obveze  OIE za predviđanjem vlastite proizvodnje</a:t>
          </a:r>
          <a:endParaRPr lang="hr-HR" sz="1600" dirty="0"/>
        </a:p>
      </dgm:t>
    </dgm:pt>
    <dgm:pt modelId="{D1CC147A-846A-4C0B-A234-91B5DD8CE27A}" type="parTrans" cxnId="{BC6ECB86-FF65-4757-8081-F669CE6DC0CA}">
      <dgm:prSet/>
      <dgm:spPr/>
      <dgm:t>
        <a:bodyPr/>
        <a:lstStyle/>
        <a:p>
          <a:endParaRPr lang="hr-HR" sz="1600"/>
        </a:p>
      </dgm:t>
    </dgm:pt>
    <dgm:pt modelId="{422BFA63-D117-45F9-8BAE-56A4447587FF}" type="sibTrans" cxnId="{BC6ECB86-FF65-4757-8081-F669CE6DC0CA}">
      <dgm:prSet/>
      <dgm:spPr/>
      <dgm:t>
        <a:bodyPr/>
        <a:lstStyle/>
        <a:p>
          <a:endParaRPr lang="hr-HR" sz="1600"/>
        </a:p>
      </dgm:t>
    </dgm:pt>
    <dgm:pt modelId="{874F7969-B7A6-431B-8FE6-E42DB9DDC60C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CA895D48-EF53-48B1-BDCA-71B46DB2DE64}" type="pres">
      <dgm:prSet presAssocID="{F81860E6-71FF-4C5A-8B6F-00D5343A9FBF}" presName="thickLine" presStyleLbl="alignNode1" presStyleIdx="0" presStyleCnt="1"/>
      <dgm:spPr/>
    </dgm:pt>
    <dgm:pt modelId="{57F0B5EF-9EDD-4068-90E6-1BC8F1550E82}" type="pres">
      <dgm:prSet presAssocID="{F81860E6-71FF-4C5A-8B6F-00D5343A9FBF}" presName="horz1" presStyleCnt="0"/>
      <dgm:spPr/>
    </dgm:pt>
    <dgm:pt modelId="{D5649D73-DDDA-4B95-B8DF-F105DE1C9189}" type="pres">
      <dgm:prSet presAssocID="{F81860E6-71FF-4C5A-8B6F-00D5343A9FBF}" presName="tx1" presStyleLbl="revTx" presStyleIdx="0" presStyleCnt="5"/>
      <dgm:spPr/>
      <dgm:t>
        <a:bodyPr/>
        <a:lstStyle/>
        <a:p>
          <a:endParaRPr lang="hr-HR"/>
        </a:p>
      </dgm:t>
    </dgm:pt>
    <dgm:pt modelId="{143E4FED-817A-47B3-9B32-EEE0A4212766}" type="pres">
      <dgm:prSet presAssocID="{F81860E6-71FF-4C5A-8B6F-00D5343A9FBF}" presName="vert1" presStyleCnt="0"/>
      <dgm:spPr/>
    </dgm:pt>
    <dgm:pt modelId="{D49F0724-9022-4A08-AEE8-5F8462D2017E}" type="pres">
      <dgm:prSet presAssocID="{A0682142-CCC4-431E-9CAE-F34F449F517C}" presName="vertSpace2a" presStyleCnt="0"/>
      <dgm:spPr/>
    </dgm:pt>
    <dgm:pt modelId="{364DEA4C-1BCD-4499-9560-572AB8BC47E0}" type="pres">
      <dgm:prSet presAssocID="{A0682142-CCC4-431E-9CAE-F34F449F517C}" presName="horz2" presStyleCnt="0"/>
      <dgm:spPr/>
    </dgm:pt>
    <dgm:pt modelId="{BB129E3A-573B-40FD-A97C-CC4C6E6EE7DC}" type="pres">
      <dgm:prSet presAssocID="{A0682142-CCC4-431E-9CAE-F34F449F517C}" presName="horzSpace2" presStyleCnt="0"/>
      <dgm:spPr/>
    </dgm:pt>
    <dgm:pt modelId="{B7AF23CD-2925-4A72-9ED9-BEBBC3F9AFE4}" type="pres">
      <dgm:prSet presAssocID="{A0682142-CCC4-431E-9CAE-F34F449F517C}" presName="tx2" presStyleLbl="revTx" presStyleIdx="1" presStyleCnt="5" custScaleY="39959"/>
      <dgm:spPr/>
      <dgm:t>
        <a:bodyPr/>
        <a:lstStyle/>
        <a:p>
          <a:endParaRPr lang="hr-HR"/>
        </a:p>
      </dgm:t>
    </dgm:pt>
    <dgm:pt modelId="{7A6CE9B7-0B25-48DB-BC6D-0AB80126DEE0}" type="pres">
      <dgm:prSet presAssocID="{A0682142-CCC4-431E-9CAE-F34F449F517C}" presName="vert2" presStyleCnt="0"/>
      <dgm:spPr/>
    </dgm:pt>
    <dgm:pt modelId="{CE4FAA23-CB6E-488E-B856-F7B82D5093D6}" type="pres">
      <dgm:prSet presAssocID="{A0682142-CCC4-431E-9CAE-F34F449F517C}" presName="thinLine2b" presStyleLbl="callout" presStyleIdx="0" presStyleCnt="4"/>
      <dgm:spPr/>
    </dgm:pt>
    <dgm:pt modelId="{A7354568-05C9-41A5-BA3E-CBCC67BE935F}" type="pres">
      <dgm:prSet presAssocID="{A0682142-CCC4-431E-9CAE-F34F449F517C}" presName="vertSpace2b" presStyleCnt="0"/>
      <dgm:spPr/>
    </dgm:pt>
    <dgm:pt modelId="{D0E00A8F-B5CF-466E-9E2F-7FD66AD8B9FE}" type="pres">
      <dgm:prSet presAssocID="{4CE199FE-97D4-4F9C-8FE9-D2783DC5D969}" presName="horz2" presStyleCnt="0"/>
      <dgm:spPr/>
    </dgm:pt>
    <dgm:pt modelId="{989AB742-B94B-4F90-8E11-702C1E543684}" type="pres">
      <dgm:prSet presAssocID="{4CE199FE-97D4-4F9C-8FE9-D2783DC5D969}" presName="horzSpace2" presStyleCnt="0"/>
      <dgm:spPr/>
    </dgm:pt>
    <dgm:pt modelId="{D105870B-6590-4ED4-B132-2CF80356A1D5}" type="pres">
      <dgm:prSet presAssocID="{4CE199FE-97D4-4F9C-8FE9-D2783DC5D969}" presName="tx2" presStyleLbl="revTx" presStyleIdx="2" presStyleCnt="5" custScaleY="25831"/>
      <dgm:spPr/>
      <dgm:t>
        <a:bodyPr/>
        <a:lstStyle/>
        <a:p>
          <a:endParaRPr lang="hr-HR"/>
        </a:p>
      </dgm:t>
    </dgm:pt>
    <dgm:pt modelId="{C9459788-87A3-4EA0-B4F5-12B29899EB4A}" type="pres">
      <dgm:prSet presAssocID="{4CE199FE-97D4-4F9C-8FE9-D2783DC5D969}" presName="vert2" presStyleCnt="0"/>
      <dgm:spPr/>
    </dgm:pt>
    <dgm:pt modelId="{91D5FEE0-8BF9-48FA-A936-2AF693485EDD}" type="pres">
      <dgm:prSet presAssocID="{4CE199FE-97D4-4F9C-8FE9-D2783DC5D969}" presName="thinLine2b" presStyleLbl="callout" presStyleIdx="1" presStyleCnt="4"/>
      <dgm:spPr/>
    </dgm:pt>
    <dgm:pt modelId="{843C3FCC-58FD-43DC-9E7D-29D9999D3EAB}" type="pres">
      <dgm:prSet presAssocID="{4CE199FE-97D4-4F9C-8FE9-D2783DC5D969}" presName="vertSpace2b" presStyleCnt="0"/>
      <dgm:spPr/>
    </dgm:pt>
    <dgm:pt modelId="{46685B79-3464-456A-A7D0-9F70BB8F5E0D}" type="pres">
      <dgm:prSet presAssocID="{B7D36DE7-9B4E-4616-A2A5-417594971D0C}" presName="horz2" presStyleCnt="0"/>
      <dgm:spPr/>
    </dgm:pt>
    <dgm:pt modelId="{9F9A2DC8-D7E4-46B7-A546-B26ABEB32BE1}" type="pres">
      <dgm:prSet presAssocID="{B7D36DE7-9B4E-4616-A2A5-417594971D0C}" presName="horzSpace2" presStyleCnt="0"/>
      <dgm:spPr/>
    </dgm:pt>
    <dgm:pt modelId="{F794B116-3382-4FE3-B552-13CA73341FDE}" type="pres">
      <dgm:prSet presAssocID="{B7D36DE7-9B4E-4616-A2A5-417594971D0C}" presName="tx2" presStyleLbl="revTx" presStyleIdx="3" presStyleCnt="5" custScaleY="32549"/>
      <dgm:spPr/>
      <dgm:t>
        <a:bodyPr/>
        <a:lstStyle/>
        <a:p>
          <a:endParaRPr lang="hr-HR"/>
        </a:p>
      </dgm:t>
    </dgm:pt>
    <dgm:pt modelId="{F9D454EF-AE3C-4EE3-86FC-FCB630BA17EF}" type="pres">
      <dgm:prSet presAssocID="{B7D36DE7-9B4E-4616-A2A5-417594971D0C}" presName="vert2" presStyleCnt="0"/>
      <dgm:spPr/>
    </dgm:pt>
    <dgm:pt modelId="{51386072-F9B2-438D-9CED-A5CEDD17FA5B}" type="pres">
      <dgm:prSet presAssocID="{B7D36DE7-9B4E-4616-A2A5-417594971D0C}" presName="thinLine2b" presStyleLbl="callout" presStyleIdx="2" presStyleCnt="4"/>
      <dgm:spPr/>
    </dgm:pt>
    <dgm:pt modelId="{175C618F-6119-4A02-8C1C-19A0AA6AA298}" type="pres">
      <dgm:prSet presAssocID="{B7D36DE7-9B4E-4616-A2A5-417594971D0C}" presName="vertSpace2b" presStyleCnt="0"/>
      <dgm:spPr/>
    </dgm:pt>
    <dgm:pt modelId="{50B29D1F-9E3B-4AC7-A386-7651BE4087D6}" type="pres">
      <dgm:prSet presAssocID="{218191BA-9485-4021-84C1-CB57C23A388B}" presName="horz2" presStyleCnt="0"/>
      <dgm:spPr/>
    </dgm:pt>
    <dgm:pt modelId="{48E789E0-9D60-463D-9D69-276A3BE181DF}" type="pres">
      <dgm:prSet presAssocID="{218191BA-9485-4021-84C1-CB57C23A388B}" presName="horzSpace2" presStyleCnt="0"/>
      <dgm:spPr/>
    </dgm:pt>
    <dgm:pt modelId="{281324B7-0E3D-4C0B-B43C-78E387268127}" type="pres">
      <dgm:prSet presAssocID="{218191BA-9485-4021-84C1-CB57C23A388B}" presName="tx2" presStyleLbl="revTx" presStyleIdx="4" presStyleCnt="5" custScaleY="37856"/>
      <dgm:spPr/>
      <dgm:t>
        <a:bodyPr/>
        <a:lstStyle/>
        <a:p>
          <a:endParaRPr lang="hr-HR"/>
        </a:p>
      </dgm:t>
    </dgm:pt>
    <dgm:pt modelId="{E1901EAB-018E-47F3-9E7E-2A95FF32E455}" type="pres">
      <dgm:prSet presAssocID="{218191BA-9485-4021-84C1-CB57C23A388B}" presName="vert2" presStyleCnt="0"/>
      <dgm:spPr/>
    </dgm:pt>
    <dgm:pt modelId="{76E7B858-36F9-4889-8BED-5BBA760D7E22}" type="pres">
      <dgm:prSet presAssocID="{218191BA-9485-4021-84C1-CB57C23A388B}" presName="thinLine2b" presStyleLbl="callout" presStyleIdx="3" presStyleCnt="4"/>
      <dgm:spPr/>
    </dgm:pt>
    <dgm:pt modelId="{576803B5-3667-46D1-9858-4B6008505E24}" type="pres">
      <dgm:prSet presAssocID="{218191BA-9485-4021-84C1-CB57C23A388B}" presName="vertSpace2b" presStyleCnt="0"/>
      <dgm:spPr/>
    </dgm:pt>
  </dgm:ptLst>
  <dgm:cxnLst>
    <dgm:cxn modelId="{CABBA47E-BED2-4DDF-A623-EBFBEDD83B60}" srcId="{F81860E6-71FF-4C5A-8B6F-00D5343A9FBF}" destId="{B7D36DE7-9B4E-4616-A2A5-417594971D0C}" srcOrd="2" destOrd="0" parTransId="{83E241F4-E88F-4A17-9DAB-068C15A70352}" sibTransId="{9C07FBA3-E38E-4DDC-BBFD-0D7AB5D5558B}"/>
    <dgm:cxn modelId="{87843EE6-AE74-4D26-9113-6D4DA8121858}" type="presOf" srcId="{A0682142-CCC4-431E-9CAE-F34F449F517C}" destId="{B7AF23CD-2925-4A72-9ED9-BEBBC3F9AFE4}" srcOrd="0" destOrd="0" presId="urn:microsoft.com/office/officeart/2008/layout/LinedList"/>
    <dgm:cxn modelId="{BC6ECB86-FF65-4757-8081-F669CE6DC0CA}" srcId="{F81860E6-71FF-4C5A-8B6F-00D5343A9FBF}" destId="{218191BA-9485-4021-84C1-CB57C23A388B}" srcOrd="3" destOrd="0" parTransId="{D1CC147A-846A-4C0B-A234-91B5DD8CE27A}" sibTransId="{422BFA63-D117-45F9-8BAE-56A4447587FF}"/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99246AFF-F64A-4C75-B275-448463568E8D}" type="presOf" srcId="{EE301C1D-F021-49A2-B603-10676C1CA9CF}" destId="{874F7969-B7A6-431B-8FE6-E42DB9DDC60C}" srcOrd="0" destOrd="0" presId="urn:microsoft.com/office/officeart/2008/layout/LinedList"/>
    <dgm:cxn modelId="{44B1B2F4-02BC-4B73-9C69-83C6B1E2A370}" srcId="{F81860E6-71FF-4C5A-8B6F-00D5343A9FBF}" destId="{4CE199FE-97D4-4F9C-8FE9-D2783DC5D969}" srcOrd="1" destOrd="0" parTransId="{1BB2E551-51DE-4965-9F57-1FC647AF720D}" sibTransId="{9E9271B7-E4F8-43BC-AF03-7FB284F3F54D}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E661575B-B836-44E4-A633-0211436AF4E2}" type="presOf" srcId="{4CE199FE-97D4-4F9C-8FE9-D2783DC5D969}" destId="{D105870B-6590-4ED4-B132-2CF80356A1D5}" srcOrd="0" destOrd="0" presId="urn:microsoft.com/office/officeart/2008/layout/LinedList"/>
    <dgm:cxn modelId="{355B65E2-DDE4-4ADF-88AD-CF3458FA9CCE}" type="presOf" srcId="{F81860E6-71FF-4C5A-8B6F-00D5343A9FBF}" destId="{D5649D73-DDDA-4B95-B8DF-F105DE1C9189}" srcOrd="0" destOrd="0" presId="urn:microsoft.com/office/officeart/2008/layout/LinedList"/>
    <dgm:cxn modelId="{C63DBD47-32A2-4AA1-8E85-95E4BBAB58F1}" type="presOf" srcId="{B7D36DE7-9B4E-4616-A2A5-417594971D0C}" destId="{F794B116-3382-4FE3-B552-13CA73341FDE}" srcOrd="0" destOrd="0" presId="urn:microsoft.com/office/officeart/2008/layout/LinedList"/>
    <dgm:cxn modelId="{F2B088A5-AD64-4962-8C78-E90D9EAE1290}" type="presOf" srcId="{218191BA-9485-4021-84C1-CB57C23A388B}" destId="{281324B7-0E3D-4C0B-B43C-78E387268127}" srcOrd="0" destOrd="0" presId="urn:microsoft.com/office/officeart/2008/layout/LinedList"/>
    <dgm:cxn modelId="{4A6EFF12-2227-4C33-B8CD-3D75F6B2E0FA}" type="presParOf" srcId="{874F7969-B7A6-431B-8FE6-E42DB9DDC60C}" destId="{CA895D48-EF53-48B1-BDCA-71B46DB2DE64}" srcOrd="0" destOrd="0" presId="urn:microsoft.com/office/officeart/2008/layout/LinedList"/>
    <dgm:cxn modelId="{CE8039FF-0091-42E2-B8CE-527D7C4F6C92}" type="presParOf" srcId="{874F7969-B7A6-431B-8FE6-E42DB9DDC60C}" destId="{57F0B5EF-9EDD-4068-90E6-1BC8F1550E82}" srcOrd="1" destOrd="0" presId="urn:microsoft.com/office/officeart/2008/layout/LinedList"/>
    <dgm:cxn modelId="{94BF6FBC-E8BD-4ADC-B804-FCC71160D4C6}" type="presParOf" srcId="{57F0B5EF-9EDD-4068-90E6-1BC8F1550E82}" destId="{D5649D73-DDDA-4B95-B8DF-F105DE1C9189}" srcOrd="0" destOrd="0" presId="urn:microsoft.com/office/officeart/2008/layout/LinedList"/>
    <dgm:cxn modelId="{8E725795-EC0E-422B-A05D-F5F964E71416}" type="presParOf" srcId="{57F0B5EF-9EDD-4068-90E6-1BC8F1550E82}" destId="{143E4FED-817A-47B3-9B32-EEE0A4212766}" srcOrd="1" destOrd="0" presId="urn:microsoft.com/office/officeart/2008/layout/LinedList"/>
    <dgm:cxn modelId="{532A99BD-DE67-4AF4-8344-56C1B12688F1}" type="presParOf" srcId="{143E4FED-817A-47B3-9B32-EEE0A4212766}" destId="{D49F0724-9022-4A08-AEE8-5F8462D2017E}" srcOrd="0" destOrd="0" presId="urn:microsoft.com/office/officeart/2008/layout/LinedList"/>
    <dgm:cxn modelId="{5772CB51-0A07-4C57-BDA2-DAF577C53AA0}" type="presParOf" srcId="{143E4FED-817A-47B3-9B32-EEE0A4212766}" destId="{364DEA4C-1BCD-4499-9560-572AB8BC47E0}" srcOrd="1" destOrd="0" presId="urn:microsoft.com/office/officeart/2008/layout/LinedList"/>
    <dgm:cxn modelId="{194F7891-622D-48DC-8728-56211B2CF72B}" type="presParOf" srcId="{364DEA4C-1BCD-4499-9560-572AB8BC47E0}" destId="{BB129E3A-573B-40FD-A97C-CC4C6E6EE7DC}" srcOrd="0" destOrd="0" presId="urn:microsoft.com/office/officeart/2008/layout/LinedList"/>
    <dgm:cxn modelId="{6C84429A-C548-4D2E-90E6-F529F24C4651}" type="presParOf" srcId="{364DEA4C-1BCD-4499-9560-572AB8BC47E0}" destId="{B7AF23CD-2925-4A72-9ED9-BEBBC3F9AFE4}" srcOrd="1" destOrd="0" presId="urn:microsoft.com/office/officeart/2008/layout/LinedList"/>
    <dgm:cxn modelId="{8EBC3D48-AF53-42FE-887D-791E39C3ABC3}" type="presParOf" srcId="{364DEA4C-1BCD-4499-9560-572AB8BC47E0}" destId="{7A6CE9B7-0B25-48DB-BC6D-0AB80126DEE0}" srcOrd="2" destOrd="0" presId="urn:microsoft.com/office/officeart/2008/layout/LinedList"/>
    <dgm:cxn modelId="{58BE8943-DFED-46A6-9F11-D1D2DBB18945}" type="presParOf" srcId="{143E4FED-817A-47B3-9B32-EEE0A4212766}" destId="{CE4FAA23-CB6E-488E-B856-F7B82D5093D6}" srcOrd="2" destOrd="0" presId="urn:microsoft.com/office/officeart/2008/layout/LinedList"/>
    <dgm:cxn modelId="{1E5BB6E4-E753-43B7-BA69-2706E2AEAB43}" type="presParOf" srcId="{143E4FED-817A-47B3-9B32-EEE0A4212766}" destId="{A7354568-05C9-41A5-BA3E-CBCC67BE935F}" srcOrd="3" destOrd="0" presId="urn:microsoft.com/office/officeart/2008/layout/LinedList"/>
    <dgm:cxn modelId="{87C2A7B4-BCBC-47F8-B25E-45F4D48A4089}" type="presParOf" srcId="{143E4FED-817A-47B3-9B32-EEE0A4212766}" destId="{D0E00A8F-B5CF-466E-9E2F-7FD66AD8B9FE}" srcOrd="4" destOrd="0" presId="urn:microsoft.com/office/officeart/2008/layout/LinedList"/>
    <dgm:cxn modelId="{20207F72-103F-4099-8598-CDC82DB7BCB5}" type="presParOf" srcId="{D0E00A8F-B5CF-466E-9E2F-7FD66AD8B9FE}" destId="{989AB742-B94B-4F90-8E11-702C1E543684}" srcOrd="0" destOrd="0" presId="urn:microsoft.com/office/officeart/2008/layout/LinedList"/>
    <dgm:cxn modelId="{3373F4DE-2368-4B03-8237-0449C5F9445D}" type="presParOf" srcId="{D0E00A8F-B5CF-466E-9E2F-7FD66AD8B9FE}" destId="{D105870B-6590-4ED4-B132-2CF80356A1D5}" srcOrd="1" destOrd="0" presId="urn:microsoft.com/office/officeart/2008/layout/LinedList"/>
    <dgm:cxn modelId="{4DFBF650-C48C-45B8-86F7-D342EF1A169D}" type="presParOf" srcId="{D0E00A8F-B5CF-466E-9E2F-7FD66AD8B9FE}" destId="{C9459788-87A3-4EA0-B4F5-12B29899EB4A}" srcOrd="2" destOrd="0" presId="urn:microsoft.com/office/officeart/2008/layout/LinedList"/>
    <dgm:cxn modelId="{FFD0C82D-893B-40D7-BCC8-B756BBE2E1F9}" type="presParOf" srcId="{143E4FED-817A-47B3-9B32-EEE0A4212766}" destId="{91D5FEE0-8BF9-48FA-A936-2AF693485EDD}" srcOrd="5" destOrd="0" presId="urn:microsoft.com/office/officeart/2008/layout/LinedList"/>
    <dgm:cxn modelId="{7DDFAD5A-038B-4B22-8225-3BE2F8F3F7B0}" type="presParOf" srcId="{143E4FED-817A-47B3-9B32-EEE0A4212766}" destId="{843C3FCC-58FD-43DC-9E7D-29D9999D3EAB}" srcOrd="6" destOrd="0" presId="urn:microsoft.com/office/officeart/2008/layout/LinedList"/>
    <dgm:cxn modelId="{6BD14D9C-5E15-4137-9C89-FDAC99F0101C}" type="presParOf" srcId="{143E4FED-817A-47B3-9B32-EEE0A4212766}" destId="{46685B79-3464-456A-A7D0-9F70BB8F5E0D}" srcOrd="7" destOrd="0" presId="urn:microsoft.com/office/officeart/2008/layout/LinedList"/>
    <dgm:cxn modelId="{8C8E93D1-E3BD-4C31-B89C-99106C400522}" type="presParOf" srcId="{46685B79-3464-456A-A7D0-9F70BB8F5E0D}" destId="{9F9A2DC8-D7E4-46B7-A546-B26ABEB32BE1}" srcOrd="0" destOrd="0" presId="urn:microsoft.com/office/officeart/2008/layout/LinedList"/>
    <dgm:cxn modelId="{2CD4A3DD-3955-4FEC-BBBE-61F81B116313}" type="presParOf" srcId="{46685B79-3464-456A-A7D0-9F70BB8F5E0D}" destId="{F794B116-3382-4FE3-B552-13CA73341FDE}" srcOrd="1" destOrd="0" presId="urn:microsoft.com/office/officeart/2008/layout/LinedList"/>
    <dgm:cxn modelId="{9F0CD793-CA43-4A5F-A5B0-8B5CF5BCD978}" type="presParOf" srcId="{46685B79-3464-456A-A7D0-9F70BB8F5E0D}" destId="{F9D454EF-AE3C-4EE3-86FC-FCB630BA17EF}" srcOrd="2" destOrd="0" presId="urn:microsoft.com/office/officeart/2008/layout/LinedList"/>
    <dgm:cxn modelId="{BF3C4022-3151-40AD-BDF2-4B48EAAAC875}" type="presParOf" srcId="{143E4FED-817A-47B3-9B32-EEE0A4212766}" destId="{51386072-F9B2-438D-9CED-A5CEDD17FA5B}" srcOrd="8" destOrd="0" presId="urn:microsoft.com/office/officeart/2008/layout/LinedList"/>
    <dgm:cxn modelId="{FBFC30F3-DABF-4B1F-98A3-8E16D269B9EC}" type="presParOf" srcId="{143E4FED-817A-47B3-9B32-EEE0A4212766}" destId="{175C618F-6119-4A02-8C1C-19A0AA6AA298}" srcOrd="9" destOrd="0" presId="urn:microsoft.com/office/officeart/2008/layout/LinedList"/>
    <dgm:cxn modelId="{CCE0866D-BC71-4C8D-9B78-3E527FF11B9A}" type="presParOf" srcId="{143E4FED-817A-47B3-9B32-EEE0A4212766}" destId="{50B29D1F-9E3B-4AC7-A386-7651BE4087D6}" srcOrd="10" destOrd="0" presId="urn:microsoft.com/office/officeart/2008/layout/LinedList"/>
    <dgm:cxn modelId="{842AEC23-234A-46F5-B8D9-D7EA98755910}" type="presParOf" srcId="{50B29D1F-9E3B-4AC7-A386-7651BE4087D6}" destId="{48E789E0-9D60-463D-9D69-276A3BE181DF}" srcOrd="0" destOrd="0" presId="urn:microsoft.com/office/officeart/2008/layout/LinedList"/>
    <dgm:cxn modelId="{48AC47DC-A823-46D7-984E-2A69B5ED7D27}" type="presParOf" srcId="{50B29D1F-9E3B-4AC7-A386-7651BE4087D6}" destId="{281324B7-0E3D-4C0B-B43C-78E387268127}" srcOrd="1" destOrd="0" presId="urn:microsoft.com/office/officeart/2008/layout/LinedList"/>
    <dgm:cxn modelId="{42E5164B-293A-4E49-AE66-919A818A23FC}" type="presParOf" srcId="{50B29D1F-9E3B-4AC7-A386-7651BE4087D6}" destId="{E1901EAB-018E-47F3-9E7E-2A95FF32E455}" srcOrd="2" destOrd="0" presId="urn:microsoft.com/office/officeart/2008/layout/LinedList"/>
    <dgm:cxn modelId="{752EBC16-7284-4879-BA78-6B9624FC957D}" type="presParOf" srcId="{143E4FED-817A-47B3-9B32-EEE0A4212766}" destId="{76E7B858-36F9-4889-8BED-5BBA760D7E22}" srcOrd="11" destOrd="0" presId="urn:microsoft.com/office/officeart/2008/layout/LinedList"/>
    <dgm:cxn modelId="{E59C4CB6-C303-4201-8CDA-492C4050611D}" type="presParOf" srcId="{143E4FED-817A-47B3-9B32-EEE0A4212766}" destId="{576803B5-3667-46D1-9858-4B6008505E24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81860E6-71FF-4C5A-8B6F-00D5343A9FBF}">
      <dgm:prSet phldrT="[Tekst]" custT="1"/>
      <dgm:spPr/>
      <dgm:t>
        <a:bodyPr/>
        <a:lstStyle/>
        <a:p>
          <a:pPr algn="just"/>
          <a:r>
            <a:rPr lang="hr-HR" sz="1800" b="1" dirty="0" smtClean="0"/>
            <a:t>Problemi financijske prirode</a:t>
          </a:r>
          <a:endParaRPr lang="hr-HR" sz="1800" b="1" dirty="0"/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 sz="2400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 sz="2400"/>
        </a:p>
      </dgm:t>
    </dgm:pt>
    <dgm:pt modelId="{A0682142-CCC4-431E-9CAE-F34F449F517C}">
      <dgm:prSet phldrT="[Tekst]" custT="1"/>
      <dgm:spPr/>
      <dgm:t>
        <a:bodyPr/>
        <a:lstStyle/>
        <a:p>
          <a:pPr algn="just"/>
          <a:r>
            <a:rPr lang="hr-HR" sz="1600" dirty="0" smtClean="0"/>
            <a:t>Mala vjerojatnost financiranja projekta kroz kreditiranje od strane komercijalnih banaka, ako projekt nije u kvoti HOPS-a (kvota se ažurira, ali čekanje može biti dugotrajno)</a:t>
          </a:r>
          <a:endParaRPr lang="hr-HR" sz="1600" dirty="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 sz="2400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 sz="2400"/>
        </a:p>
      </dgm:t>
    </dgm:pt>
    <dgm:pt modelId="{82E99971-DE05-48B6-BC6C-DDAB7FDC4CDE}">
      <dgm:prSet custT="1"/>
      <dgm:spPr/>
      <dgm:t>
        <a:bodyPr/>
        <a:lstStyle/>
        <a:p>
          <a:pPr algn="just"/>
          <a:r>
            <a:rPr lang="hr-HR" sz="1600" dirty="0" smtClean="0"/>
            <a:t>Nositelj projekta mora HROTE-u dostaviti bankovno jamstvo na iznos od 10% vrijednosti investicije u roku od 9 mjeseci od datuma potpisa Ugovora o otkupu el. energije iz </a:t>
          </a:r>
          <a:r>
            <a:rPr lang="hr-HR" sz="1600" dirty="0" err="1" smtClean="0"/>
            <a:t>OiE</a:t>
          </a:r>
          <a:r>
            <a:rPr lang="hr-HR" sz="1600" dirty="0" smtClean="0"/>
            <a:t> bez obzira na kvotu</a:t>
          </a:r>
          <a:endParaRPr lang="hr-HR" sz="1600" dirty="0"/>
        </a:p>
      </dgm:t>
    </dgm:pt>
    <dgm:pt modelId="{99A9D039-32CA-4C00-AAFD-60DBEB4B9534}" type="parTrans" cxnId="{A6CCF0CA-EEE7-4E7E-8B89-7D6ECDFE1D76}">
      <dgm:prSet/>
      <dgm:spPr/>
      <dgm:t>
        <a:bodyPr/>
        <a:lstStyle/>
        <a:p>
          <a:endParaRPr lang="hr-HR" sz="2400"/>
        </a:p>
      </dgm:t>
    </dgm:pt>
    <dgm:pt modelId="{B0FE04DE-6C60-4EAF-9C5E-F2709E7A8C2C}" type="sibTrans" cxnId="{A6CCF0CA-EEE7-4E7E-8B89-7D6ECDFE1D76}">
      <dgm:prSet/>
      <dgm:spPr/>
      <dgm:t>
        <a:bodyPr/>
        <a:lstStyle/>
        <a:p>
          <a:endParaRPr lang="hr-HR" sz="2400"/>
        </a:p>
      </dgm:t>
    </dgm:pt>
    <dgm:pt modelId="{393E7199-EB21-4E7B-8542-95449E451C5D}">
      <dgm:prSet custT="1"/>
      <dgm:spPr/>
      <dgm:t>
        <a:bodyPr/>
        <a:lstStyle/>
        <a:p>
          <a:pPr algn="just"/>
          <a:r>
            <a:rPr lang="hr-HR" sz="1600" dirty="0" smtClean="0"/>
            <a:t>Nositelj projekta mora HOPS-u priložiti (pred)ugovor o nabavci  vjetroagregata ukoliko želi zadržati mjesto u kvoti za priključak, a s druge strane banke imaju veliko nepovjerenje u dinamiku izvodljivosti i realizaciju projekata </a:t>
          </a:r>
          <a:endParaRPr lang="hr-HR" sz="1600" dirty="0"/>
        </a:p>
      </dgm:t>
    </dgm:pt>
    <dgm:pt modelId="{F0C38EC3-021D-4514-BE34-A59E727498CB}" type="parTrans" cxnId="{B695B024-B40B-4CCC-BD50-281AD806EA6C}">
      <dgm:prSet/>
      <dgm:spPr/>
      <dgm:t>
        <a:bodyPr/>
        <a:lstStyle/>
        <a:p>
          <a:endParaRPr lang="hr-HR" sz="2400"/>
        </a:p>
      </dgm:t>
    </dgm:pt>
    <dgm:pt modelId="{5695AA56-2C74-4D8D-AC4D-7D55087DA647}" type="sibTrans" cxnId="{B695B024-B40B-4CCC-BD50-281AD806EA6C}">
      <dgm:prSet/>
      <dgm:spPr/>
      <dgm:t>
        <a:bodyPr/>
        <a:lstStyle/>
        <a:p>
          <a:endParaRPr lang="hr-HR" sz="2400"/>
        </a:p>
      </dgm:t>
    </dgm:pt>
    <dgm:pt modelId="{BB694F34-39C5-482E-8D0B-8737F2646E21}">
      <dgm:prSet custT="1"/>
      <dgm:spPr/>
      <dgm:t>
        <a:bodyPr/>
        <a:lstStyle/>
        <a:p>
          <a:pPr algn="just"/>
          <a:r>
            <a:rPr lang="hr-HR" sz="1600" dirty="0" smtClean="0"/>
            <a:t>Komercijalne banke financiranje projekata OIE smatraju relativno rizičnim, čak i uz zajamčene cijene otkupa tijekom cijelih 14 godina trajanja ugovora, pa je trošak kapitala u Hrvatskoj znatno veći nego u većini zemalja članica EU</a:t>
          </a:r>
          <a:endParaRPr lang="hr-HR" sz="1600" dirty="0"/>
        </a:p>
      </dgm:t>
    </dgm:pt>
    <dgm:pt modelId="{62333C74-CD83-4C4F-AC03-BE7F55FA8343}" type="parTrans" cxnId="{930073D0-43C1-4314-A7A0-11660A57E1BA}">
      <dgm:prSet/>
      <dgm:spPr/>
      <dgm:t>
        <a:bodyPr/>
        <a:lstStyle/>
        <a:p>
          <a:endParaRPr lang="hr-HR" sz="2400"/>
        </a:p>
      </dgm:t>
    </dgm:pt>
    <dgm:pt modelId="{DF7B4E95-5863-4A02-844F-55A2D445E0A7}" type="sibTrans" cxnId="{930073D0-43C1-4314-A7A0-11660A57E1BA}">
      <dgm:prSet/>
      <dgm:spPr/>
      <dgm:t>
        <a:bodyPr/>
        <a:lstStyle/>
        <a:p>
          <a:endParaRPr lang="hr-HR" sz="2400"/>
        </a:p>
      </dgm:t>
    </dgm:pt>
    <dgm:pt modelId="{F2F0B80F-49C0-4A5E-9739-F3B4E3DAB580}">
      <dgm:prSet custT="1"/>
      <dgm:spPr/>
      <dgm:t>
        <a:bodyPr/>
        <a:lstStyle/>
        <a:p>
          <a:pPr algn="just"/>
          <a:r>
            <a:rPr lang="hr-HR" sz="1600" dirty="0" smtClean="0"/>
            <a:t>Troškovi povezani s predviđanjem proizvodnje iz OIE se trenutno ne uzimaju u obzir, a troškovi uravnoteženja su se do sada podmirivali iz poticaja za OIE na razini od 10% otkupne cijene, što u budućnosti s većim udjelom OIE neće biti moguće. Troškovi uravnoteženja povezani su s kvalitetom predviđanja proizvodnje iz OIE, pa je i ovaj financijski aspekt nužno riješiti u cijelosti.</a:t>
          </a:r>
          <a:endParaRPr lang="hr-HR" sz="1600" dirty="0"/>
        </a:p>
      </dgm:t>
    </dgm:pt>
    <dgm:pt modelId="{0B1BD811-3453-4721-9C7E-C80B7E48DC2E}" type="parTrans" cxnId="{B1926548-4AB4-4D4D-AC44-AB17183C5D7C}">
      <dgm:prSet/>
      <dgm:spPr/>
      <dgm:t>
        <a:bodyPr/>
        <a:lstStyle/>
        <a:p>
          <a:endParaRPr lang="hr-HR" sz="2400"/>
        </a:p>
      </dgm:t>
    </dgm:pt>
    <dgm:pt modelId="{647DB152-459B-430E-ACA8-B1C1B20AC2F3}" type="sibTrans" cxnId="{B1926548-4AB4-4D4D-AC44-AB17183C5D7C}">
      <dgm:prSet/>
      <dgm:spPr/>
      <dgm:t>
        <a:bodyPr/>
        <a:lstStyle/>
        <a:p>
          <a:endParaRPr lang="hr-HR" sz="2400"/>
        </a:p>
      </dgm:t>
    </dgm:pt>
    <dgm:pt modelId="{042B5794-D8FF-43F4-80F5-53357EA7A6EE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9A1305B0-254E-4140-926F-16230D24101D}" type="pres">
      <dgm:prSet presAssocID="{F81860E6-71FF-4C5A-8B6F-00D5343A9FBF}" presName="thickLine" presStyleLbl="alignNode1" presStyleIdx="0" presStyleCnt="1"/>
      <dgm:spPr/>
    </dgm:pt>
    <dgm:pt modelId="{0F7DA4C8-DA94-432E-A121-23DBF30777CC}" type="pres">
      <dgm:prSet presAssocID="{F81860E6-71FF-4C5A-8B6F-00D5343A9FBF}" presName="horz1" presStyleCnt="0"/>
      <dgm:spPr/>
    </dgm:pt>
    <dgm:pt modelId="{4C7F5237-0324-4260-9793-CB76BF412075}" type="pres">
      <dgm:prSet presAssocID="{F81860E6-71FF-4C5A-8B6F-00D5343A9FBF}" presName="tx1" presStyleLbl="revTx" presStyleIdx="0" presStyleCnt="6"/>
      <dgm:spPr/>
      <dgm:t>
        <a:bodyPr/>
        <a:lstStyle/>
        <a:p>
          <a:endParaRPr lang="hr-HR"/>
        </a:p>
      </dgm:t>
    </dgm:pt>
    <dgm:pt modelId="{50D5FF3D-1E59-490D-AF2B-68D404286DA0}" type="pres">
      <dgm:prSet presAssocID="{F81860E6-71FF-4C5A-8B6F-00D5343A9FBF}" presName="vert1" presStyleCnt="0"/>
      <dgm:spPr/>
    </dgm:pt>
    <dgm:pt modelId="{5361CC5E-7588-4FC1-92FC-3D5BE10D89A8}" type="pres">
      <dgm:prSet presAssocID="{A0682142-CCC4-431E-9CAE-F34F449F517C}" presName="vertSpace2a" presStyleCnt="0"/>
      <dgm:spPr/>
    </dgm:pt>
    <dgm:pt modelId="{E3C9805F-FB41-4F80-9438-0D13A45543D8}" type="pres">
      <dgm:prSet presAssocID="{A0682142-CCC4-431E-9CAE-F34F449F517C}" presName="horz2" presStyleCnt="0"/>
      <dgm:spPr/>
    </dgm:pt>
    <dgm:pt modelId="{6C1F257C-1AE6-42BE-B903-246250B43A10}" type="pres">
      <dgm:prSet presAssocID="{A0682142-CCC4-431E-9CAE-F34F449F517C}" presName="horzSpace2" presStyleCnt="0"/>
      <dgm:spPr/>
    </dgm:pt>
    <dgm:pt modelId="{C0E5ADA6-5626-48CC-8C28-B8D32358EBCE}" type="pres">
      <dgm:prSet presAssocID="{A0682142-CCC4-431E-9CAE-F34F449F517C}" presName="tx2" presStyleLbl="revTx" presStyleIdx="1" presStyleCnt="6"/>
      <dgm:spPr/>
      <dgm:t>
        <a:bodyPr/>
        <a:lstStyle/>
        <a:p>
          <a:endParaRPr lang="hr-HR"/>
        </a:p>
      </dgm:t>
    </dgm:pt>
    <dgm:pt modelId="{D8B8CB68-E124-4BF5-9AB9-F5DB60B41BC0}" type="pres">
      <dgm:prSet presAssocID="{A0682142-CCC4-431E-9CAE-F34F449F517C}" presName="vert2" presStyleCnt="0"/>
      <dgm:spPr/>
    </dgm:pt>
    <dgm:pt modelId="{56FBDD4E-9FCB-49BB-A34B-30F9BF8C8627}" type="pres">
      <dgm:prSet presAssocID="{A0682142-CCC4-431E-9CAE-F34F449F517C}" presName="thinLine2b" presStyleLbl="callout" presStyleIdx="0" presStyleCnt="5"/>
      <dgm:spPr/>
    </dgm:pt>
    <dgm:pt modelId="{8DCCCC70-9148-4997-858B-30DEA291C510}" type="pres">
      <dgm:prSet presAssocID="{A0682142-CCC4-431E-9CAE-F34F449F517C}" presName="vertSpace2b" presStyleCnt="0"/>
      <dgm:spPr/>
    </dgm:pt>
    <dgm:pt modelId="{C17490FF-1ACE-458C-B65A-13DF2E1369D8}" type="pres">
      <dgm:prSet presAssocID="{82E99971-DE05-48B6-BC6C-DDAB7FDC4CDE}" presName="horz2" presStyleCnt="0"/>
      <dgm:spPr/>
    </dgm:pt>
    <dgm:pt modelId="{BF306D74-E2F0-4D5D-887E-3E67397F3D6E}" type="pres">
      <dgm:prSet presAssocID="{82E99971-DE05-48B6-BC6C-DDAB7FDC4CDE}" presName="horzSpace2" presStyleCnt="0"/>
      <dgm:spPr/>
    </dgm:pt>
    <dgm:pt modelId="{DE7592FF-5948-4D2D-9F45-7195B350C743}" type="pres">
      <dgm:prSet presAssocID="{82E99971-DE05-48B6-BC6C-DDAB7FDC4CDE}" presName="tx2" presStyleLbl="revTx" presStyleIdx="2" presStyleCnt="6"/>
      <dgm:spPr/>
      <dgm:t>
        <a:bodyPr/>
        <a:lstStyle/>
        <a:p>
          <a:endParaRPr lang="hr-HR"/>
        </a:p>
      </dgm:t>
    </dgm:pt>
    <dgm:pt modelId="{55821A7E-D880-4D73-BFAE-54EBD5D7D799}" type="pres">
      <dgm:prSet presAssocID="{82E99971-DE05-48B6-BC6C-DDAB7FDC4CDE}" presName="vert2" presStyleCnt="0"/>
      <dgm:spPr/>
    </dgm:pt>
    <dgm:pt modelId="{14D2FC7D-B492-424C-8089-8A62CF77DF61}" type="pres">
      <dgm:prSet presAssocID="{82E99971-DE05-48B6-BC6C-DDAB7FDC4CDE}" presName="thinLine2b" presStyleLbl="callout" presStyleIdx="1" presStyleCnt="5"/>
      <dgm:spPr/>
    </dgm:pt>
    <dgm:pt modelId="{20747D06-239C-44FD-8091-5E0B14EEBB51}" type="pres">
      <dgm:prSet presAssocID="{82E99971-DE05-48B6-BC6C-DDAB7FDC4CDE}" presName="vertSpace2b" presStyleCnt="0"/>
      <dgm:spPr/>
    </dgm:pt>
    <dgm:pt modelId="{5A7085DE-453D-4EBE-A04B-4CF656A05BE1}" type="pres">
      <dgm:prSet presAssocID="{393E7199-EB21-4E7B-8542-95449E451C5D}" presName="horz2" presStyleCnt="0"/>
      <dgm:spPr/>
    </dgm:pt>
    <dgm:pt modelId="{331583FA-4DA8-4C27-9CCF-73251B7A50A7}" type="pres">
      <dgm:prSet presAssocID="{393E7199-EB21-4E7B-8542-95449E451C5D}" presName="horzSpace2" presStyleCnt="0"/>
      <dgm:spPr/>
    </dgm:pt>
    <dgm:pt modelId="{A726597D-C9BF-4803-91BE-6728A69B2C4A}" type="pres">
      <dgm:prSet presAssocID="{393E7199-EB21-4E7B-8542-95449E451C5D}" presName="tx2" presStyleLbl="revTx" presStyleIdx="3" presStyleCnt="6"/>
      <dgm:spPr/>
      <dgm:t>
        <a:bodyPr/>
        <a:lstStyle/>
        <a:p>
          <a:endParaRPr lang="hr-HR"/>
        </a:p>
      </dgm:t>
    </dgm:pt>
    <dgm:pt modelId="{2DB4CD7A-9AB1-461A-977D-9B6D29A81C4B}" type="pres">
      <dgm:prSet presAssocID="{393E7199-EB21-4E7B-8542-95449E451C5D}" presName="vert2" presStyleCnt="0"/>
      <dgm:spPr/>
    </dgm:pt>
    <dgm:pt modelId="{10C76201-BE5C-482C-9ED5-6D92C223A528}" type="pres">
      <dgm:prSet presAssocID="{393E7199-EB21-4E7B-8542-95449E451C5D}" presName="thinLine2b" presStyleLbl="callout" presStyleIdx="2" presStyleCnt="5"/>
      <dgm:spPr/>
    </dgm:pt>
    <dgm:pt modelId="{B48C3CD1-B3C9-4E0A-8CE9-2F9240695D45}" type="pres">
      <dgm:prSet presAssocID="{393E7199-EB21-4E7B-8542-95449E451C5D}" presName="vertSpace2b" presStyleCnt="0"/>
      <dgm:spPr/>
    </dgm:pt>
    <dgm:pt modelId="{0FBFEED6-72EF-42DD-B0B1-C8412EBB3623}" type="pres">
      <dgm:prSet presAssocID="{BB694F34-39C5-482E-8D0B-8737F2646E21}" presName="horz2" presStyleCnt="0"/>
      <dgm:spPr/>
    </dgm:pt>
    <dgm:pt modelId="{BB1CF535-10B9-46BD-8538-6EA80D7F4574}" type="pres">
      <dgm:prSet presAssocID="{BB694F34-39C5-482E-8D0B-8737F2646E21}" presName="horzSpace2" presStyleCnt="0"/>
      <dgm:spPr/>
    </dgm:pt>
    <dgm:pt modelId="{C1C46B8F-632C-4DF3-95C4-D3DC1F6A0452}" type="pres">
      <dgm:prSet presAssocID="{BB694F34-39C5-482E-8D0B-8737F2646E21}" presName="tx2" presStyleLbl="revTx" presStyleIdx="4" presStyleCnt="6"/>
      <dgm:spPr/>
      <dgm:t>
        <a:bodyPr/>
        <a:lstStyle/>
        <a:p>
          <a:endParaRPr lang="hr-HR"/>
        </a:p>
      </dgm:t>
    </dgm:pt>
    <dgm:pt modelId="{03992A78-4E4D-409A-AFDA-829283CE04B8}" type="pres">
      <dgm:prSet presAssocID="{BB694F34-39C5-482E-8D0B-8737F2646E21}" presName="vert2" presStyleCnt="0"/>
      <dgm:spPr/>
    </dgm:pt>
    <dgm:pt modelId="{F3E9C11B-CFCF-4BE0-A2CB-069269DAC8B1}" type="pres">
      <dgm:prSet presAssocID="{BB694F34-39C5-482E-8D0B-8737F2646E21}" presName="thinLine2b" presStyleLbl="callout" presStyleIdx="3" presStyleCnt="5"/>
      <dgm:spPr/>
    </dgm:pt>
    <dgm:pt modelId="{63B52F97-A79F-4174-99BD-48AC719A0161}" type="pres">
      <dgm:prSet presAssocID="{BB694F34-39C5-482E-8D0B-8737F2646E21}" presName="vertSpace2b" presStyleCnt="0"/>
      <dgm:spPr/>
    </dgm:pt>
    <dgm:pt modelId="{27121B14-79F4-4CC9-B328-31E06C5DA05B}" type="pres">
      <dgm:prSet presAssocID="{F2F0B80F-49C0-4A5E-9739-F3B4E3DAB580}" presName="horz2" presStyleCnt="0"/>
      <dgm:spPr/>
    </dgm:pt>
    <dgm:pt modelId="{06145320-4E9A-40F5-84FE-50C9AB1701BE}" type="pres">
      <dgm:prSet presAssocID="{F2F0B80F-49C0-4A5E-9739-F3B4E3DAB580}" presName="horzSpace2" presStyleCnt="0"/>
      <dgm:spPr/>
    </dgm:pt>
    <dgm:pt modelId="{C5C6A048-2365-4AD4-8665-1C729990405E}" type="pres">
      <dgm:prSet presAssocID="{F2F0B80F-49C0-4A5E-9739-F3B4E3DAB580}" presName="tx2" presStyleLbl="revTx" presStyleIdx="5" presStyleCnt="6" custScaleY="152092"/>
      <dgm:spPr/>
      <dgm:t>
        <a:bodyPr/>
        <a:lstStyle/>
        <a:p>
          <a:endParaRPr lang="hr-HR"/>
        </a:p>
      </dgm:t>
    </dgm:pt>
    <dgm:pt modelId="{77A39A2F-9B5B-4940-9552-C24671712FFB}" type="pres">
      <dgm:prSet presAssocID="{F2F0B80F-49C0-4A5E-9739-F3B4E3DAB580}" presName="vert2" presStyleCnt="0"/>
      <dgm:spPr/>
    </dgm:pt>
    <dgm:pt modelId="{A40AB3B9-1C97-43E2-8B0C-406E81524931}" type="pres">
      <dgm:prSet presAssocID="{F2F0B80F-49C0-4A5E-9739-F3B4E3DAB580}" presName="thinLine2b" presStyleLbl="callout" presStyleIdx="4" presStyleCnt="5"/>
      <dgm:spPr/>
    </dgm:pt>
    <dgm:pt modelId="{AF6546FB-E639-4C44-BFEA-05CD265D5B62}" type="pres">
      <dgm:prSet presAssocID="{F2F0B80F-49C0-4A5E-9739-F3B4E3DAB580}" presName="vertSpace2b" presStyleCnt="0"/>
      <dgm:spPr/>
    </dgm:pt>
  </dgm:ptLst>
  <dgm:cxnLst>
    <dgm:cxn modelId="{435651A3-FC99-4F3F-8375-71FE021E5DBB}" type="presOf" srcId="{BB694F34-39C5-482E-8D0B-8737F2646E21}" destId="{C1C46B8F-632C-4DF3-95C4-D3DC1F6A0452}" srcOrd="0" destOrd="0" presId="urn:microsoft.com/office/officeart/2008/layout/LinedList"/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90BF882A-0F56-44E1-9EAE-577555568C76}" type="presOf" srcId="{82E99971-DE05-48B6-BC6C-DDAB7FDC4CDE}" destId="{DE7592FF-5948-4D2D-9F45-7195B350C743}" srcOrd="0" destOrd="0" presId="urn:microsoft.com/office/officeart/2008/layout/LinedList"/>
    <dgm:cxn modelId="{F7EC561C-B9F6-4BAB-9514-C2E28F5C9A62}" type="presOf" srcId="{A0682142-CCC4-431E-9CAE-F34F449F517C}" destId="{C0E5ADA6-5626-48CC-8C28-B8D32358EBCE}" srcOrd="0" destOrd="0" presId="urn:microsoft.com/office/officeart/2008/layout/LinedList"/>
    <dgm:cxn modelId="{B1926548-4AB4-4D4D-AC44-AB17183C5D7C}" srcId="{F81860E6-71FF-4C5A-8B6F-00D5343A9FBF}" destId="{F2F0B80F-49C0-4A5E-9739-F3B4E3DAB580}" srcOrd="4" destOrd="0" parTransId="{0B1BD811-3453-4721-9C7E-C80B7E48DC2E}" sibTransId="{647DB152-459B-430E-ACA8-B1C1B20AC2F3}"/>
    <dgm:cxn modelId="{A6CCF0CA-EEE7-4E7E-8B89-7D6ECDFE1D76}" srcId="{F81860E6-71FF-4C5A-8B6F-00D5343A9FBF}" destId="{82E99971-DE05-48B6-BC6C-DDAB7FDC4CDE}" srcOrd="1" destOrd="0" parTransId="{99A9D039-32CA-4C00-AAFD-60DBEB4B9534}" sibTransId="{B0FE04DE-6C60-4EAF-9C5E-F2709E7A8C2C}"/>
    <dgm:cxn modelId="{3375A661-0403-482A-97F0-ED31930A80F7}" type="presOf" srcId="{EE301C1D-F021-49A2-B603-10676C1CA9CF}" destId="{042B5794-D8FF-43F4-80F5-53357EA7A6EE}" srcOrd="0" destOrd="0" presId="urn:microsoft.com/office/officeart/2008/layout/LinedList"/>
    <dgm:cxn modelId="{B695B024-B40B-4CCC-BD50-281AD806EA6C}" srcId="{F81860E6-71FF-4C5A-8B6F-00D5343A9FBF}" destId="{393E7199-EB21-4E7B-8542-95449E451C5D}" srcOrd="2" destOrd="0" parTransId="{F0C38EC3-021D-4514-BE34-A59E727498CB}" sibTransId="{5695AA56-2C74-4D8D-AC4D-7D55087DA647}"/>
    <dgm:cxn modelId="{7CB64C52-042A-4C4A-828D-F3B7E6F8640E}" type="presOf" srcId="{F2F0B80F-49C0-4A5E-9739-F3B4E3DAB580}" destId="{C5C6A048-2365-4AD4-8665-1C729990405E}" srcOrd="0" destOrd="0" presId="urn:microsoft.com/office/officeart/2008/layout/LinedList"/>
    <dgm:cxn modelId="{930073D0-43C1-4314-A7A0-11660A57E1BA}" srcId="{F81860E6-71FF-4C5A-8B6F-00D5343A9FBF}" destId="{BB694F34-39C5-482E-8D0B-8737F2646E21}" srcOrd="3" destOrd="0" parTransId="{62333C74-CD83-4C4F-AC03-BE7F55FA8343}" sibTransId="{DF7B4E95-5863-4A02-844F-55A2D445E0A7}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F6EAC17A-4670-4743-9DB9-80E29A850843}" type="presOf" srcId="{F81860E6-71FF-4C5A-8B6F-00D5343A9FBF}" destId="{4C7F5237-0324-4260-9793-CB76BF412075}" srcOrd="0" destOrd="0" presId="urn:microsoft.com/office/officeart/2008/layout/LinedList"/>
    <dgm:cxn modelId="{100C5D21-14B8-420F-8A91-C51B131A258B}" type="presOf" srcId="{393E7199-EB21-4E7B-8542-95449E451C5D}" destId="{A726597D-C9BF-4803-91BE-6728A69B2C4A}" srcOrd="0" destOrd="0" presId="urn:microsoft.com/office/officeart/2008/layout/LinedList"/>
    <dgm:cxn modelId="{D443A2F5-67A9-44E4-A92F-FB72CC538455}" type="presParOf" srcId="{042B5794-D8FF-43F4-80F5-53357EA7A6EE}" destId="{9A1305B0-254E-4140-926F-16230D24101D}" srcOrd="0" destOrd="0" presId="urn:microsoft.com/office/officeart/2008/layout/LinedList"/>
    <dgm:cxn modelId="{D93EA533-85D5-440E-8D6D-1F8322738807}" type="presParOf" srcId="{042B5794-D8FF-43F4-80F5-53357EA7A6EE}" destId="{0F7DA4C8-DA94-432E-A121-23DBF30777CC}" srcOrd="1" destOrd="0" presId="urn:microsoft.com/office/officeart/2008/layout/LinedList"/>
    <dgm:cxn modelId="{D7F7A4C4-AB21-4142-A993-E271CA08E000}" type="presParOf" srcId="{0F7DA4C8-DA94-432E-A121-23DBF30777CC}" destId="{4C7F5237-0324-4260-9793-CB76BF412075}" srcOrd="0" destOrd="0" presId="urn:microsoft.com/office/officeart/2008/layout/LinedList"/>
    <dgm:cxn modelId="{AA9F0E13-C870-40F1-AE23-BB4810908430}" type="presParOf" srcId="{0F7DA4C8-DA94-432E-A121-23DBF30777CC}" destId="{50D5FF3D-1E59-490D-AF2B-68D404286DA0}" srcOrd="1" destOrd="0" presId="urn:microsoft.com/office/officeart/2008/layout/LinedList"/>
    <dgm:cxn modelId="{BB091DE1-C0F3-4064-869F-D11F2143F45D}" type="presParOf" srcId="{50D5FF3D-1E59-490D-AF2B-68D404286DA0}" destId="{5361CC5E-7588-4FC1-92FC-3D5BE10D89A8}" srcOrd="0" destOrd="0" presId="urn:microsoft.com/office/officeart/2008/layout/LinedList"/>
    <dgm:cxn modelId="{875C211A-28E3-4D64-A45B-55FBEDD82319}" type="presParOf" srcId="{50D5FF3D-1E59-490D-AF2B-68D404286DA0}" destId="{E3C9805F-FB41-4F80-9438-0D13A45543D8}" srcOrd="1" destOrd="0" presId="urn:microsoft.com/office/officeart/2008/layout/LinedList"/>
    <dgm:cxn modelId="{A7F936C6-3AAC-4788-A655-1C6B5A19B554}" type="presParOf" srcId="{E3C9805F-FB41-4F80-9438-0D13A45543D8}" destId="{6C1F257C-1AE6-42BE-B903-246250B43A10}" srcOrd="0" destOrd="0" presId="urn:microsoft.com/office/officeart/2008/layout/LinedList"/>
    <dgm:cxn modelId="{3CB79ED4-CC9D-416B-9B6C-6B9EF222B4B3}" type="presParOf" srcId="{E3C9805F-FB41-4F80-9438-0D13A45543D8}" destId="{C0E5ADA6-5626-48CC-8C28-B8D32358EBCE}" srcOrd="1" destOrd="0" presId="urn:microsoft.com/office/officeart/2008/layout/LinedList"/>
    <dgm:cxn modelId="{103E8A4B-A070-47B2-87A7-E8C9C083E0FB}" type="presParOf" srcId="{E3C9805F-FB41-4F80-9438-0D13A45543D8}" destId="{D8B8CB68-E124-4BF5-9AB9-F5DB60B41BC0}" srcOrd="2" destOrd="0" presId="urn:microsoft.com/office/officeart/2008/layout/LinedList"/>
    <dgm:cxn modelId="{658D2659-7B53-497F-8256-8D0AACC0F99A}" type="presParOf" srcId="{50D5FF3D-1E59-490D-AF2B-68D404286DA0}" destId="{56FBDD4E-9FCB-49BB-A34B-30F9BF8C8627}" srcOrd="2" destOrd="0" presId="urn:microsoft.com/office/officeart/2008/layout/LinedList"/>
    <dgm:cxn modelId="{086B5996-3554-4890-8E15-4A12498C721B}" type="presParOf" srcId="{50D5FF3D-1E59-490D-AF2B-68D404286DA0}" destId="{8DCCCC70-9148-4997-858B-30DEA291C510}" srcOrd="3" destOrd="0" presId="urn:microsoft.com/office/officeart/2008/layout/LinedList"/>
    <dgm:cxn modelId="{ED305264-AB52-4F30-ADC3-0B566A85AC4F}" type="presParOf" srcId="{50D5FF3D-1E59-490D-AF2B-68D404286DA0}" destId="{C17490FF-1ACE-458C-B65A-13DF2E1369D8}" srcOrd="4" destOrd="0" presId="urn:microsoft.com/office/officeart/2008/layout/LinedList"/>
    <dgm:cxn modelId="{2F04E201-B9CA-42CF-9532-DDD72068DEC4}" type="presParOf" srcId="{C17490FF-1ACE-458C-B65A-13DF2E1369D8}" destId="{BF306D74-E2F0-4D5D-887E-3E67397F3D6E}" srcOrd="0" destOrd="0" presId="urn:microsoft.com/office/officeart/2008/layout/LinedList"/>
    <dgm:cxn modelId="{9C11993B-25B5-4EAD-90C9-8DD4374109CE}" type="presParOf" srcId="{C17490FF-1ACE-458C-B65A-13DF2E1369D8}" destId="{DE7592FF-5948-4D2D-9F45-7195B350C743}" srcOrd="1" destOrd="0" presId="urn:microsoft.com/office/officeart/2008/layout/LinedList"/>
    <dgm:cxn modelId="{B0A5F6B0-7799-475F-94D2-8FBB52FE459F}" type="presParOf" srcId="{C17490FF-1ACE-458C-B65A-13DF2E1369D8}" destId="{55821A7E-D880-4D73-BFAE-54EBD5D7D799}" srcOrd="2" destOrd="0" presId="urn:microsoft.com/office/officeart/2008/layout/LinedList"/>
    <dgm:cxn modelId="{D3880FD1-E7B7-41B4-8DFF-33C433BBE613}" type="presParOf" srcId="{50D5FF3D-1E59-490D-AF2B-68D404286DA0}" destId="{14D2FC7D-B492-424C-8089-8A62CF77DF61}" srcOrd="5" destOrd="0" presId="urn:microsoft.com/office/officeart/2008/layout/LinedList"/>
    <dgm:cxn modelId="{204D528B-A7E6-4CBE-AAA8-ADA5135879C3}" type="presParOf" srcId="{50D5FF3D-1E59-490D-AF2B-68D404286DA0}" destId="{20747D06-239C-44FD-8091-5E0B14EEBB51}" srcOrd="6" destOrd="0" presId="urn:microsoft.com/office/officeart/2008/layout/LinedList"/>
    <dgm:cxn modelId="{DA4F1167-3627-4C11-9A96-F63E367EC926}" type="presParOf" srcId="{50D5FF3D-1E59-490D-AF2B-68D404286DA0}" destId="{5A7085DE-453D-4EBE-A04B-4CF656A05BE1}" srcOrd="7" destOrd="0" presId="urn:microsoft.com/office/officeart/2008/layout/LinedList"/>
    <dgm:cxn modelId="{E63D47C0-CBAF-4106-9B36-06AF0B056570}" type="presParOf" srcId="{5A7085DE-453D-4EBE-A04B-4CF656A05BE1}" destId="{331583FA-4DA8-4C27-9CCF-73251B7A50A7}" srcOrd="0" destOrd="0" presId="urn:microsoft.com/office/officeart/2008/layout/LinedList"/>
    <dgm:cxn modelId="{2785F307-49E8-46AB-8D8F-44FEF3331383}" type="presParOf" srcId="{5A7085DE-453D-4EBE-A04B-4CF656A05BE1}" destId="{A726597D-C9BF-4803-91BE-6728A69B2C4A}" srcOrd="1" destOrd="0" presId="urn:microsoft.com/office/officeart/2008/layout/LinedList"/>
    <dgm:cxn modelId="{98D12F84-4FDC-493B-A6EC-3ED66C8DBB47}" type="presParOf" srcId="{5A7085DE-453D-4EBE-A04B-4CF656A05BE1}" destId="{2DB4CD7A-9AB1-461A-977D-9B6D29A81C4B}" srcOrd="2" destOrd="0" presId="urn:microsoft.com/office/officeart/2008/layout/LinedList"/>
    <dgm:cxn modelId="{E6CA7A13-9065-4AB0-B178-9BB9E3A99D3A}" type="presParOf" srcId="{50D5FF3D-1E59-490D-AF2B-68D404286DA0}" destId="{10C76201-BE5C-482C-9ED5-6D92C223A528}" srcOrd="8" destOrd="0" presId="urn:microsoft.com/office/officeart/2008/layout/LinedList"/>
    <dgm:cxn modelId="{147D3E5F-A757-4658-9480-D611B42B9474}" type="presParOf" srcId="{50D5FF3D-1E59-490D-AF2B-68D404286DA0}" destId="{B48C3CD1-B3C9-4E0A-8CE9-2F9240695D45}" srcOrd="9" destOrd="0" presId="urn:microsoft.com/office/officeart/2008/layout/LinedList"/>
    <dgm:cxn modelId="{152EF8E2-E55A-4795-94FC-1BFAD6CE5E77}" type="presParOf" srcId="{50D5FF3D-1E59-490D-AF2B-68D404286DA0}" destId="{0FBFEED6-72EF-42DD-B0B1-C8412EBB3623}" srcOrd="10" destOrd="0" presId="urn:microsoft.com/office/officeart/2008/layout/LinedList"/>
    <dgm:cxn modelId="{BDBAD214-3A21-421D-93AB-FB1171BE79F9}" type="presParOf" srcId="{0FBFEED6-72EF-42DD-B0B1-C8412EBB3623}" destId="{BB1CF535-10B9-46BD-8538-6EA80D7F4574}" srcOrd="0" destOrd="0" presId="urn:microsoft.com/office/officeart/2008/layout/LinedList"/>
    <dgm:cxn modelId="{C848D296-5C9F-4E48-BF76-F27049C91E3C}" type="presParOf" srcId="{0FBFEED6-72EF-42DD-B0B1-C8412EBB3623}" destId="{C1C46B8F-632C-4DF3-95C4-D3DC1F6A0452}" srcOrd="1" destOrd="0" presId="urn:microsoft.com/office/officeart/2008/layout/LinedList"/>
    <dgm:cxn modelId="{37252FF2-F453-4CBF-9CB6-A16178E676D2}" type="presParOf" srcId="{0FBFEED6-72EF-42DD-B0B1-C8412EBB3623}" destId="{03992A78-4E4D-409A-AFDA-829283CE04B8}" srcOrd="2" destOrd="0" presId="urn:microsoft.com/office/officeart/2008/layout/LinedList"/>
    <dgm:cxn modelId="{A274FFC5-03D4-4502-B8FA-689D47582036}" type="presParOf" srcId="{50D5FF3D-1E59-490D-AF2B-68D404286DA0}" destId="{F3E9C11B-CFCF-4BE0-A2CB-069269DAC8B1}" srcOrd="11" destOrd="0" presId="urn:microsoft.com/office/officeart/2008/layout/LinedList"/>
    <dgm:cxn modelId="{CB5EDA44-0B54-4476-AE6D-0BD79B8BB08D}" type="presParOf" srcId="{50D5FF3D-1E59-490D-AF2B-68D404286DA0}" destId="{63B52F97-A79F-4174-99BD-48AC719A0161}" srcOrd="12" destOrd="0" presId="urn:microsoft.com/office/officeart/2008/layout/LinedList"/>
    <dgm:cxn modelId="{9CF12562-EA48-4D88-97BA-3626963D403A}" type="presParOf" srcId="{50D5FF3D-1E59-490D-AF2B-68D404286DA0}" destId="{27121B14-79F4-4CC9-B328-31E06C5DA05B}" srcOrd="13" destOrd="0" presId="urn:microsoft.com/office/officeart/2008/layout/LinedList"/>
    <dgm:cxn modelId="{A3BA61C1-D1B9-43ED-9E2B-95161489F4A1}" type="presParOf" srcId="{27121B14-79F4-4CC9-B328-31E06C5DA05B}" destId="{06145320-4E9A-40F5-84FE-50C9AB1701BE}" srcOrd="0" destOrd="0" presId="urn:microsoft.com/office/officeart/2008/layout/LinedList"/>
    <dgm:cxn modelId="{F2183FD2-823F-433D-953E-C2F97F33EA0D}" type="presParOf" srcId="{27121B14-79F4-4CC9-B328-31E06C5DA05B}" destId="{C5C6A048-2365-4AD4-8665-1C729990405E}" srcOrd="1" destOrd="0" presId="urn:microsoft.com/office/officeart/2008/layout/LinedList"/>
    <dgm:cxn modelId="{A421ECB5-FEAE-4CB3-B3CE-54BD6287F566}" type="presParOf" srcId="{27121B14-79F4-4CC9-B328-31E06C5DA05B}" destId="{77A39A2F-9B5B-4940-9552-C24671712FFB}" srcOrd="2" destOrd="0" presId="urn:microsoft.com/office/officeart/2008/layout/LinedList"/>
    <dgm:cxn modelId="{B25A389B-1E87-4EF2-95B5-A60A3F4607DB}" type="presParOf" srcId="{50D5FF3D-1E59-490D-AF2B-68D404286DA0}" destId="{A40AB3B9-1C97-43E2-8B0C-406E81524931}" srcOrd="14" destOrd="0" presId="urn:microsoft.com/office/officeart/2008/layout/LinedList"/>
    <dgm:cxn modelId="{34408AD4-A90C-40E4-B112-F391819A0ECF}" type="presParOf" srcId="{50D5FF3D-1E59-490D-AF2B-68D404286DA0}" destId="{AF6546FB-E639-4C44-BFEA-05CD265D5B62}" srcOrd="15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81860E6-71FF-4C5A-8B6F-00D5343A9FBF}">
      <dgm:prSet phldrT="[Tekst]" custT="1"/>
      <dgm:spPr/>
      <dgm:t>
        <a:bodyPr/>
        <a:lstStyle/>
        <a:p>
          <a:pPr algn="l"/>
          <a:r>
            <a:rPr lang="hr-HR" sz="2000" dirty="0" smtClean="0">
              <a:solidFill>
                <a:srgbClr val="0092D2"/>
              </a:solidFill>
            </a:rPr>
            <a:t>Izmjene u Tarifnom sustavu</a:t>
          </a:r>
          <a:endParaRPr lang="hr-HR" sz="2000" b="1" dirty="0">
            <a:solidFill>
              <a:srgbClr val="0092D2"/>
            </a:solidFill>
          </a:endParaRPr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 sz="2400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 sz="2400"/>
        </a:p>
      </dgm:t>
    </dgm:pt>
    <dgm:pt modelId="{A0682142-CCC4-431E-9CAE-F34F449F517C}">
      <dgm:prSet phldrT="[Tekst]" custT="1"/>
      <dgm:spPr/>
      <dgm:t>
        <a:bodyPr/>
        <a:lstStyle/>
        <a:p>
          <a:pPr algn="just"/>
          <a:r>
            <a:rPr lang="hr-HR" sz="1600" dirty="0" smtClean="0"/>
            <a:t>U prelaznom periodu do 2017. sukladno preporukama EU direktive redefinirati poticajne cijene za sve vidove OIE</a:t>
          </a:r>
          <a:endParaRPr lang="hr-HR" sz="1600" dirty="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 sz="2400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 sz="2400"/>
        </a:p>
      </dgm:t>
    </dgm:pt>
    <dgm:pt modelId="{C516A536-8F93-45B2-A0AD-49BA0323EBDF}">
      <dgm:prSet phldrT="[Tekst]" custT="1"/>
      <dgm:spPr/>
      <dgm:t>
        <a:bodyPr/>
        <a:lstStyle/>
        <a:p>
          <a:pPr algn="just"/>
          <a:r>
            <a:rPr lang="hr-HR" sz="1600" dirty="0" smtClean="0"/>
            <a:t>Uvesti  mogućnost višeslojnog tarifnog modela, poticanje snage i energije</a:t>
          </a:r>
          <a:endParaRPr lang="hr-HR" sz="1600" dirty="0"/>
        </a:p>
      </dgm:t>
    </dgm:pt>
    <dgm:pt modelId="{809BD3E0-5084-49FE-8E38-421100558FFA}" type="parTrans" cxnId="{AA9E064A-C08C-4487-9D03-18C5BD69DBFE}">
      <dgm:prSet/>
      <dgm:spPr/>
      <dgm:t>
        <a:bodyPr/>
        <a:lstStyle/>
        <a:p>
          <a:endParaRPr lang="hr-HR"/>
        </a:p>
      </dgm:t>
    </dgm:pt>
    <dgm:pt modelId="{08A309D8-F12D-4861-AA38-8B7239BF6D85}" type="sibTrans" cxnId="{AA9E064A-C08C-4487-9D03-18C5BD69DBFE}">
      <dgm:prSet/>
      <dgm:spPr/>
      <dgm:t>
        <a:bodyPr/>
        <a:lstStyle/>
        <a:p>
          <a:endParaRPr lang="hr-HR"/>
        </a:p>
      </dgm:t>
    </dgm:pt>
    <dgm:pt modelId="{FE7B70F6-FF71-4A83-A5FA-29D86EE0A33A}">
      <dgm:prSet phldrT="[Tekst]" custT="1"/>
      <dgm:spPr/>
      <dgm:t>
        <a:bodyPr/>
        <a:lstStyle/>
        <a:p>
          <a:pPr algn="just"/>
          <a:r>
            <a:rPr lang="hr-HR" sz="1600" dirty="0" smtClean="0"/>
            <a:t>Uvesti mogućnost jednokratne subvencije </a:t>
          </a:r>
          <a:endParaRPr lang="hr-HR" sz="1600" dirty="0"/>
        </a:p>
      </dgm:t>
    </dgm:pt>
    <dgm:pt modelId="{DFA051D7-B07E-4522-9A8E-8358A3DE0AB7}" type="parTrans" cxnId="{3349B8E7-2F38-4652-820D-D061C9AC6178}">
      <dgm:prSet/>
      <dgm:spPr/>
      <dgm:t>
        <a:bodyPr/>
        <a:lstStyle/>
        <a:p>
          <a:endParaRPr lang="hr-HR"/>
        </a:p>
      </dgm:t>
    </dgm:pt>
    <dgm:pt modelId="{71BAB3A8-CE09-406C-8E80-62FF0E459AE3}" type="sibTrans" cxnId="{3349B8E7-2F38-4652-820D-D061C9AC6178}">
      <dgm:prSet/>
      <dgm:spPr/>
      <dgm:t>
        <a:bodyPr/>
        <a:lstStyle/>
        <a:p>
          <a:endParaRPr lang="hr-HR"/>
        </a:p>
      </dgm:t>
    </dgm:pt>
    <dgm:pt modelId="{0CCF844D-CECA-4752-A2E7-79D55C9B48A4}">
      <dgm:prSet phldrT="[Tekst]" custT="1"/>
      <dgm:spPr/>
      <dgm:t>
        <a:bodyPr/>
        <a:lstStyle/>
        <a:p>
          <a:pPr algn="just"/>
          <a:r>
            <a:rPr lang="hr-HR" sz="1600" dirty="0" smtClean="0"/>
            <a:t>Fiksirati  iznos, učiniti transparentnim  značenje pojma RC-referentne cijene, usuglašavati  sa  proizvodnom cijenom nove konvencionalne  plinske elektrane </a:t>
          </a:r>
          <a:endParaRPr lang="hr-HR" sz="1600" dirty="0"/>
        </a:p>
      </dgm:t>
    </dgm:pt>
    <dgm:pt modelId="{761847B0-B9D0-41EA-AA32-86CC94AADF23}" type="parTrans" cxnId="{7846B9B5-C2D6-4202-8B75-A4C224FAB102}">
      <dgm:prSet/>
      <dgm:spPr/>
      <dgm:t>
        <a:bodyPr/>
        <a:lstStyle/>
        <a:p>
          <a:endParaRPr lang="hr-HR"/>
        </a:p>
      </dgm:t>
    </dgm:pt>
    <dgm:pt modelId="{50E431BA-8852-4499-BBD2-7273E8F3382D}" type="sibTrans" cxnId="{7846B9B5-C2D6-4202-8B75-A4C224FAB102}">
      <dgm:prSet/>
      <dgm:spPr/>
      <dgm:t>
        <a:bodyPr/>
        <a:lstStyle/>
        <a:p>
          <a:endParaRPr lang="hr-HR"/>
        </a:p>
      </dgm:t>
    </dgm:pt>
    <dgm:pt modelId="{FA865932-436F-4B3D-A6F0-1FFB4AE6C3AF}">
      <dgm:prSet phldrT="[Tekst]" custT="1"/>
      <dgm:spPr/>
      <dgm:t>
        <a:bodyPr/>
        <a:lstStyle/>
        <a:p>
          <a:pPr algn="just"/>
          <a:r>
            <a:rPr lang="hr-HR" sz="1600" smtClean="0"/>
            <a:t>Usuglasiti cijene za OIE sa Metodologijom – koju treba javno obznaniti</a:t>
          </a:r>
          <a:endParaRPr lang="hr-HR" sz="1600" dirty="0"/>
        </a:p>
      </dgm:t>
    </dgm:pt>
    <dgm:pt modelId="{BA6F8D12-5684-428A-8CD2-23C675684D30}" type="parTrans" cxnId="{69250F9F-F2FE-4BDE-B79A-E7B71FE94D7C}">
      <dgm:prSet/>
      <dgm:spPr/>
      <dgm:t>
        <a:bodyPr/>
        <a:lstStyle/>
        <a:p>
          <a:endParaRPr lang="hr-HR"/>
        </a:p>
      </dgm:t>
    </dgm:pt>
    <dgm:pt modelId="{E0F26826-B070-4F7E-8550-FD033BF3E2B3}" type="sibTrans" cxnId="{69250F9F-F2FE-4BDE-B79A-E7B71FE94D7C}">
      <dgm:prSet/>
      <dgm:spPr/>
      <dgm:t>
        <a:bodyPr/>
        <a:lstStyle/>
        <a:p>
          <a:endParaRPr lang="hr-HR"/>
        </a:p>
      </dgm:t>
    </dgm:pt>
    <dgm:pt modelId="{CEF07FD0-C254-4E52-8893-4BB1AB86746A}">
      <dgm:prSet phldrT="[Tekst]" custT="1"/>
      <dgm:spPr/>
      <dgm:t>
        <a:bodyPr/>
        <a:lstStyle/>
        <a:p>
          <a:pPr algn="just"/>
          <a:r>
            <a:rPr lang="hr-HR" sz="1600" dirty="0" smtClean="0"/>
            <a:t>Uvesti definiranje kvota OIE za sve vidove OIE a ne samo za solar</a:t>
          </a:r>
          <a:endParaRPr lang="hr-HR" sz="1600" dirty="0"/>
        </a:p>
      </dgm:t>
    </dgm:pt>
    <dgm:pt modelId="{8EEF716E-F0C0-4F82-883F-93B66D360656}" type="parTrans" cxnId="{8E123A22-8CE1-4E60-A780-733C91E62C44}">
      <dgm:prSet/>
      <dgm:spPr/>
      <dgm:t>
        <a:bodyPr/>
        <a:lstStyle/>
        <a:p>
          <a:endParaRPr lang="hr-HR"/>
        </a:p>
      </dgm:t>
    </dgm:pt>
    <dgm:pt modelId="{77FE8D84-B730-4AA7-9ACE-D238C36ACEF2}" type="sibTrans" cxnId="{8E123A22-8CE1-4E60-A780-733C91E62C44}">
      <dgm:prSet/>
      <dgm:spPr/>
      <dgm:t>
        <a:bodyPr/>
        <a:lstStyle/>
        <a:p>
          <a:endParaRPr lang="hr-HR"/>
        </a:p>
      </dgm:t>
    </dgm:pt>
    <dgm:pt modelId="{C34C367B-9E2C-4D23-A1CE-083797C74657}">
      <dgm:prSet phldrT="[Tekst]" custT="1"/>
      <dgm:spPr/>
      <dgm:t>
        <a:bodyPr/>
        <a:lstStyle/>
        <a:p>
          <a:pPr algn="just"/>
          <a:r>
            <a:rPr lang="hr-HR" sz="1600" dirty="0" smtClean="0"/>
            <a:t>Ukinuti dvostruko jamstvo za uspješan dovršetak projekata vjetroelektrana jednom kroz 10% bankovne garancije prema HROTE drugi put avansna uplata 10% vrijednosti vjetroturbina proizvođaču</a:t>
          </a:r>
          <a:endParaRPr lang="hr-HR" sz="1600" dirty="0"/>
        </a:p>
      </dgm:t>
    </dgm:pt>
    <dgm:pt modelId="{1A0EF08B-DFDD-4E0F-8CFB-203019DAE907}" type="parTrans" cxnId="{728C613E-82E5-46F2-8692-9D29FB94666F}">
      <dgm:prSet/>
      <dgm:spPr/>
      <dgm:t>
        <a:bodyPr/>
        <a:lstStyle/>
        <a:p>
          <a:endParaRPr lang="hr-HR"/>
        </a:p>
      </dgm:t>
    </dgm:pt>
    <dgm:pt modelId="{38954451-CEA0-4C29-A274-4F441BE7C358}" type="sibTrans" cxnId="{728C613E-82E5-46F2-8692-9D29FB94666F}">
      <dgm:prSet/>
      <dgm:spPr/>
      <dgm:t>
        <a:bodyPr/>
        <a:lstStyle/>
        <a:p>
          <a:endParaRPr lang="hr-HR"/>
        </a:p>
      </dgm:t>
    </dgm:pt>
    <dgm:pt modelId="{FE47C700-82B2-475E-BFDD-9897E04B267C}">
      <dgm:prSet phldrT="[Tekst]" custT="1"/>
      <dgm:spPr/>
      <dgm:t>
        <a:bodyPr/>
        <a:lstStyle/>
        <a:p>
          <a:pPr algn="just"/>
          <a:r>
            <a:rPr lang="hr-HR" sz="1600" dirty="0" smtClean="0"/>
            <a:t>Destimulirati velike projekte na biomasu koji ne mogu raditi kao učinkovita </a:t>
          </a:r>
          <a:r>
            <a:rPr lang="hr-HR" sz="1600" dirty="0" err="1" smtClean="0"/>
            <a:t>kogeneracija</a:t>
          </a:r>
          <a:r>
            <a:rPr lang="hr-HR" sz="1600" dirty="0" smtClean="0"/>
            <a:t>. Favorizirati više manjih (do </a:t>
          </a:r>
          <a:r>
            <a:rPr lang="hr-HR" sz="1600" dirty="0" err="1" smtClean="0"/>
            <a:t>max</a:t>
          </a:r>
          <a:r>
            <a:rPr lang="hr-HR" sz="1600" dirty="0" smtClean="0"/>
            <a:t>. 1MW) </a:t>
          </a:r>
          <a:r>
            <a:rPr lang="hr-HR" sz="1600" dirty="0" err="1" smtClean="0"/>
            <a:t>kogeneracijskih</a:t>
          </a:r>
          <a:r>
            <a:rPr lang="hr-HR" sz="1600" dirty="0" smtClean="0"/>
            <a:t> postrojenja na biomasu i ostatke komunalnog otpada-RDF</a:t>
          </a:r>
          <a:endParaRPr lang="hr-HR" sz="1600" dirty="0"/>
        </a:p>
      </dgm:t>
    </dgm:pt>
    <dgm:pt modelId="{52518BB1-F35D-4B2E-995D-98ED6A70ECF0}" type="parTrans" cxnId="{F626AD76-E815-4670-B48B-C529439E4A1C}">
      <dgm:prSet/>
      <dgm:spPr/>
      <dgm:t>
        <a:bodyPr/>
        <a:lstStyle/>
        <a:p>
          <a:endParaRPr lang="hr-HR"/>
        </a:p>
      </dgm:t>
    </dgm:pt>
    <dgm:pt modelId="{2FA20BE4-D0E6-42D8-8EE6-E0E8DAACE0DB}" type="sibTrans" cxnId="{F626AD76-E815-4670-B48B-C529439E4A1C}">
      <dgm:prSet/>
      <dgm:spPr/>
      <dgm:t>
        <a:bodyPr/>
        <a:lstStyle/>
        <a:p>
          <a:endParaRPr lang="hr-HR"/>
        </a:p>
      </dgm:t>
    </dgm:pt>
    <dgm:pt modelId="{042B5794-D8FF-43F4-80F5-53357EA7A6EE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9A1305B0-254E-4140-926F-16230D24101D}" type="pres">
      <dgm:prSet presAssocID="{F81860E6-71FF-4C5A-8B6F-00D5343A9FBF}" presName="thickLine" presStyleLbl="alignNode1" presStyleIdx="0" presStyleCnt="1"/>
      <dgm:spPr/>
    </dgm:pt>
    <dgm:pt modelId="{0F7DA4C8-DA94-432E-A121-23DBF30777CC}" type="pres">
      <dgm:prSet presAssocID="{F81860E6-71FF-4C5A-8B6F-00D5343A9FBF}" presName="horz1" presStyleCnt="0"/>
      <dgm:spPr/>
    </dgm:pt>
    <dgm:pt modelId="{4C7F5237-0324-4260-9793-CB76BF412075}" type="pres">
      <dgm:prSet presAssocID="{F81860E6-71FF-4C5A-8B6F-00D5343A9FBF}" presName="tx1" presStyleLbl="revTx" presStyleIdx="0" presStyleCnt="9"/>
      <dgm:spPr/>
      <dgm:t>
        <a:bodyPr/>
        <a:lstStyle/>
        <a:p>
          <a:endParaRPr lang="hr-HR"/>
        </a:p>
      </dgm:t>
    </dgm:pt>
    <dgm:pt modelId="{50D5FF3D-1E59-490D-AF2B-68D404286DA0}" type="pres">
      <dgm:prSet presAssocID="{F81860E6-71FF-4C5A-8B6F-00D5343A9FBF}" presName="vert1" presStyleCnt="0"/>
      <dgm:spPr/>
    </dgm:pt>
    <dgm:pt modelId="{5361CC5E-7588-4FC1-92FC-3D5BE10D89A8}" type="pres">
      <dgm:prSet presAssocID="{A0682142-CCC4-431E-9CAE-F34F449F517C}" presName="vertSpace2a" presStyleCnt="0"/>
      <dgm:spPr/>
    </dgm:pt>
    <dgm:pt modelId="{E3C9805F-FB41-4F80-9438-0D13A45543D8}" type="pres">
      <dgm:prSet presAssocID="{A0682142-CCC4-431E-9CAE-F34F449F517C}" presName="horz2" presStyleCnt="0"/>
      <dgm:spPr/>
    </dgm:pt>
    <dgm:pt modelId="{6C1F257C-1AE6-42BE-B903-246250B43A10}" type="pres">
      <dgm:prSet presAssocID="{A0682142-CCC4-431E-9CAE-F34F449F517C}" presName="horzSpace2" presStyleCnt="0"/>
      <dgm:spPr/>
    </dgm:pt>
    <dgm:pt modelId="{C0E5ADA6-5626-48CC-8C28-B8D32358EBCE}" type="pres">
      <dgm:prSet presAssocID="{A0682142-CCC4-431E-9CAE-F34F449F517C}" presName="tx2" presStyleLbl="revTx" presStyleIdx="1" presStyleCnt="9"/>
      <dgm:spPr/>
      <dgm:t>
        <a:bodyPr/>
        <a:lstStyle/>
        <a:p>
          <a:endParaRPr lang="hr-HR"/>
        </a:p>
      </dgm:t>
    </dgm:pt>
    <dgm:pt modelId="{D8B8CB68-E124-4BF5-9AB9-F5DB60B41BC0}" type="pres">
      <dgm:prSet presAssocID="{A0682142-CCC4-431E-9CAE-F34F449F517C}" presName="vert2" presStyleCnt="0"/>
      <dgm:spPr/>
    </dgm:pt>
    <dgm:pt modelId="{56FBDD4E-9FCB-49BB-A34B-30F9BF8C8627}" type="pres">
      <dgm:prSet presAssocID="{A0682142-CCC4-431E-9CAE-F34F449F517C}" presName="thinLine2b" presStyleLbl="callout" presStyleIdx="0" presStyleCnt="8"/>
      <dgm:spPr/>
    </dgm:pt>
    <dgm:pt modelId="{8DCCCC70-9148-4997-858B-30DEA291C510}" type="pres">
      <dgm:prSet presAssocID="{A0682142-CCC4-431E-9CAE-F34F449F517C}" presName="vertSpace2b" presStyleCnt="0"/>
      <dgm:spPr/>
    </dgm:pt>
    <dgm:pt modelId="{F0DEAF44-DB6A-4031-96FC-5742CAB9CD3C}" type="pres">
      <dgm:prSet presAssocID="{C516A536-8F93-45B2-A0AD-49BA0323EBDF}" presName="horz2" presStyleCnt="0"/>
      <dgm:spPr/>
    </dgm:pt>
    <dgm:pt modelId="{B5A81A6E-2257-4790-A477-9C4DA658D429}" type="pres">
      <dgm:prSet presAssocID="{C516A536-8F93-45B2-A0AD-49BA0323EBDF}" presName="horzSpace2" presStyleCnt="0"/>
      <dgm:spPr/>
    </dgm:pt>
    <dgm:pt modelId="{663725E5-F51D-4233-B014-B7177A95F1C1}" type="pres">
      <dgm:prSet presAssocID="{C516A536-8F93-45B2-A0AD-49BA0323EBDF}" presName="tx2" presStyleLbl="revTx" presStyleIdx="2" presStyleCnt="9"/>
      <dgm:spPr/>
      <dgm:t>
        <a:bodyPr/>
        <a:lstStyle/>
        <a:p>
          <a:endParaRPr lang="hr-HR"/>
        </a:p>
      </dgm:t>
    </dgm:pt>
    <dgm:pt modelId="{CE323635-990B-4352-B918-9BBD1DB44139}" type="pres">
      <dgm:prSet presAssocID="{C516A536-8F93-45B2-A0AD-49BA0323EBDF}" presName="vert2" presStyleCnt="0"/>
      <dgm:spPr/>
    </dgm:pt>
    <dgm:pt modelId="{B8F58205-3C58-49D2-B188-878188937002}" type="pres">
      <dgm:prSet presAssocID="{C516A536-8F93-45B2-A0AD-49BA0323EBDF}" presName="thinLine2b" presStyleLbl="callout" presStyleIdx="1" presStyleCnt="8"/>
      <dgm:spPr/>
    </dgm:pt>
    <dgm:pt modelId="{B8063BFC-C27D-433B-92F8-C7ECB31501A5}" type="pres">
      <dgm:prSet presAssocID="{C516A536-8F93-45B2-A0AD-49BA0323EBDF}" presName="vertSpace2b" presStyleCnt="0"/>
      <dgm:spPr/>
    </dgm:pt>
    <dgm:pt modelId="{5AE38F42-E8E8-44F0-9042-98A637D429F2}" type="pres">
      <dgm:prSet presAssocID="{FE7B70F6-FF71-4A83-A5FA-29D86EE0A33A}" presName="horz2" presStyleCnt="0"/>
      <dgm:spPr/>
    </dgm:pt>
    <dgm:pt modelId="{6C04B9A6-1B94-4CDC-8B12-1123FBBAFA5A}" type="pres">
      <dgm:prSet presAssocID="{FE7B70F6-FF71-4A83-A5FA-29D86EE0A33A}" presName="horzSpace2" presStyleCnt="0"/>
      <dgm:spPr/>
    </dgm:pt>
    <dgm:pt modelId="{CDD340F4-3F54-4727-9C4A-CF41DD90399F}" type="pres">
      <dgm:prSet presAssocID="{FE7B70F6-FF71-4A83-A5FA-29D86EE0A33A}" presName="tx2" presStyleLbl="revTx" presStyleIdx="3" presStyleCnt="9"/>
      <dgm:spPr/>
      <dgm:t>
        <a:bodyPr/>
        <a:lstStyle/>
        <a:p>
          <a:endParaRPr lang="hr-HR"/>
        </a:p>
      </dgm:t>
    </dgm:pt>
    <dgm:pt modelId="{3637F02E-5718-499A-B409-4B2C0392B0FB}" type="pres">
      <dgm:prSet presAssocID="{FE7B70F6-FF71-4A83-A5FA-29D86EE0A33A}" presName="vert2" presStyleCnt="0"/>
      <dgm:spPr/>
    </dgm:pt>
    <dgm:pt modelId="{C74E0AD9-59CA-43EB-8835-7C8EF770B891}" type="pres">
      <dgm:prSet presAssocID="{FE7B70F6-FF71-4A83-A5FA-29D86EE0A33A}" presName="thinLine2b" presStyleLbl="callout" presStyleIdx="2" presStyleCnt="8"/>
      <dgm:spPr/>
    </dgm:pt>
    <dgm:pt modelId="{0EC4C84B-500B-4A84-9734-B66D4D2D1F08}" type="pres">
      <dgm:prSet presAssocID="{FE7B70F6-FF71-4A83-A5FA-29D86EE0A33A}" presName="vertSpace2b" presStyleCnt="0"/>
      <dgm:spPr/>
    </dgm:pt>
    <dgm:pt modelId="{892E7AEA-B19E-4E5D-8480-FA623517A5A7}" type="pres">
      <dgm:prSet presAssocID="{0CCF844D-CECA-4752-A2E7-79D55C9B48A4}" presName="horz2" presStyleCnt="0"/>
      <dgm:spPr/>
    </dgm:pt>
    <dgm:pt modelId="{C1D024DE-D9D5-476C-84C7-E54B6673FF35}" type="pres">
      <dgm:prSet presAssocID="{0CCF844D-CECA-4752-A2E7-79D55C9B48A4}" presName="horzSpace2" presStyleCnt="0"/>
      <dgm:spPr/>
    </dgm:pt>
    <dgm:pt modelId="{8E75F5AB-4B5E-4C59-BF80-AA459B07360A}" type="pres">
      <dgm:prSet presAssocID="{0CCF844D-CECA-4752-A2E7-79D55C9B48A4}" presName="tx2" presStyleLbl="revTx" presStyleIdx="4" presStyleCnt="9"/>
      <dgm:spPr/>
      <dgm:t>
        <a:bodyPr/>
        <a:lstStyle/>
        <a:p>
          <a:endParaRPr lang="hr-HR"/>
        </a:p>
      </dgm:t>
    </dgm:pt>
    <dgm:pt modelId="{061FE7C5-E0DA-4D37-9C77-EFC32ADCC69E}" type="pres">
      <dgm:prSet presAssocID="{0CCF844D-CECA-4752-A2E7-79D55C9B48A4}" presName="vert2" presStyleCnt="0"/>
      <dgm:spPr/>
    </dgm:pt>
    <dgm:pt modelId="{A11B2BB4-765A-4538-89DC-4A37A551707E}" type="pres">
      <dgm:prSet presAssocID="{0CCF844D-CECA-4752-A2E7-79D55C9B48A4}" presName="thinLine2b" presStyleLbl="callout" presStyleIdx="3" presStyleCnt="8"/>
      <dgm:spPr/>
    </dgm:pt>
    <dgm:pt modelId="{81B33922-F652-48EF-BD7F-1F10F7535873}" type="pres">
      <dgm:prSet presAssocID="{0CCF844D-CECA-4752-A2E7-79D55C9B48A4}" presName="vertSpace2b" presStyleCnt="0"/>
      <dgm:spPr/>
    </dgm:pt>
    <dgm:pt modelId="{85CBC90C-B26C-426A-A7B8-EACB01E31BC7}" type="pres">
      <dgm:prSet presAssocID="{FA865932-436F-4B3D-A6F0-1FFB4AE6C3AF}" presName="horz2" presStyleCnt="0"/>
      <dgm:spPr/>
    </dgm:pt>
    <dgm:pt modelId="{34C3A81C-7F52-4874-9320-52F6B4801956}" type="pres">
      <dgm:prSet presAssocID="{FA865932-436F-4B3D-A6F0-1FFB4AE6C3AF}" presName="horzSpace2" presStyleCnt="0"/>
      <dgm:spPr/>
    </dgm:pt>
    <dgm:pt modelId="{7B408F82-B915-4A2B-B54C-E4F12833B7D7}" type="pres">
      <dgm:prSet presAssocID="{FA865932-436F-4B3D-A6F0-1FFB4AE6C3AF}" presName="tx2" presStyleLbl="revTx" presStyleIdx="5" presStyleCnt="9"/>
      <dgm:spPr/>
      <dgm:t>
        <a:bodyPr/>
        <a:lstStyle/>
        <a:p>
          <a:endParaRPr lang="hr-HR"/>
        </a:p>
      </dgm:t>
    </dgm:pt>
    <dgm:pt modelId="{BE60A47E-2B39-4BEA-A956-48C8A3551869}" type="pres">
      <dgm:prSet presAssocID="{FA865932-436F-4B3D-A6F0-1FFB4AE6C3AF}" presName="vert2" presStyleCnt="0"/>
      <dgm:spPr/>
    </dgm:pt>
    <dgm:pt modelId="{E0D4B9BA-132C-423E-9C74-109AF2D8E242}" type="pres">
      <dgm:prSet presAssocID="{FA865932-436F-4B3D-A6F0-1FFB4AE6C3AF}" presName="thinLine2b" presStyleLbl="callout" presStyleIdx="4" presStyleCnt="8"/>
      <dgm:spPr/>
    </dgm:pt>
    <dgm:pt modelId="{5C5EA8B9-FD5A-48D8-AA21-A1DACE6D4B8C}" type="pres">
      <dgm:prSet presAssocID="{FA865932-436F-4B3D-A6F0-1FFB4AE6C3AF}" presName="vertSpace2b" presStyleCnt="0"/>
      <dgm:spPr/>
    </dgm:pt>
    <dgm:pt modelId="{B7C29266-1DF8-470C-8532-5C232FB8AC80}" type="pres">
      <dgm:prSet presAssocID="{CEF07FD0-C254-4E52-8893-4BB1AB86746A}" presName="horz2" presStyleCnt="0"/>
      <dgm:spPr/>
    </dgm:pt>
    <dgm:pt modelId="{F682056F-372C-4007-9E61-1B641C097AC2}" type="pres">
      <dgm:prSet presAssocID="{CEF07FD0-C254-4E52-8893-4BB1AB86746A}" presName="horzSpace2" presStyleCnt="0"/>
      <dgm:spPr/>
    </dgm:pt>
    <dgm:pt modelId="{CE07EFE7-2FA4-4573-8384-13B641F583A9}" type="pres">
      <dgm:prSet presAssocID="{CEF07FD0-C254-4E52-8893-4BB1AB86746A}" presName="tx2" presStyleLbl="revTx" presStyleIdx="6" presStyleCnt="9"/>
      <dgm:spPr/>
      <dgm:t>
        <a:bodyPr/>
        <a:lstStyle/>
        <a:p>
          <a:endParaRPr lang="hr-HR"/>
        </a:p>
      </dgm:t>
    </dgm:pt>
    <dgm:pt modelId="{72B69238-2F7B-4B6B-80D3-F04DEA343335}" type="pres">
      <dgm:prSet presAssocID="{CEF07FD0-C254-4E52-8893-4BB1AB86746A}" presName="vert2" presStyleCnt="0"/>
      <dgm:spPr/>
    </dgm:pt>
    <dgm:pt modelId="{6EB5F98D-BE62-40FF-A986-480FC73EF2CE}" type="pres">
      <dgm:prSet presAssocID="{CEF07FD0-C254-4E52-8893-4BB1AB86746A}" presName="thinLine2b" presStyleLbl="callout" presStyleIdx="5" presStyleCnt="8"/>
      <dgm:spPr/>
    </dgm:pt>
    <dgm:pt modelId="{3657B351-346D-4156-8E22-BFCFF56D0360}" type="pres">
      <dgm:prSet presAssocID="{CEF07FD0-C254-4E52-8893-4BB1AB86746A}" presName="vertSpace2b" presStyleCnt="0"/>
      <dgm:spPr/>
    </dgm:pt>
    <dgm:pt modelId="{99CBDD5A-BC5A-48AA-A26A-1C9CC3536580}" type="pres">
      <dgm:prSet presAssocID="{C34C367B-9E2C-4D23-A1CE-083797C74657}" presName="horz2" presStyleCnt="0"/>
      <dgm:spPr/>
    </dgm:pt>
    <dgm:pt modelId="{02091513-D43D-49C5-8893-E3222B9F58E8}" type="pres">
      <dgm:prSet presAssocID="{C34C367B-9E2C-4D23-A1CE-083797C74657}" presName="horzSpace2" presStyleCnt="0"/>
      <dgm:spPr/>
    </dgm:pt>
    <dgm:pt modelId="{430CD1DC-3D2A-42A2-A022-E4E0B2DE1CC2}" type="pres">
      <dgm:prSet presAssocID="{C34C367B-9E2C-4D23-A1CE-083797C74657}" presName="tx2" presStyleLbl="revTx" presStyleIdx="7" presStyleCnt="9" custScaleY="182559"/>
      <dgm:spPr/>
      <dgm:t>
        <a:bodyPr/>
        <a:lstStyle/>
        <a:p>
          <a:endParaRPr lang="hr-HR"/>
        </a:p>
      </dgm:t>
    </dgm:pt>
    <dgm:pt modelId="{2E474945-24BD-4D76-91CB-FE4345BAE03A}" type="pres">
      <dgm:prSet presAssocID="{C34C367B-9E2C-4D23-A1CE-083797C74657}" presName="vert2" presStyleCnt="0"/>
      <dgm:spPr/>
    </dgm:pt>
    <dgm:pt modelId="{4DD5C6C4-7477-4130-80D3-C610BAFB1B9B}" type="pres">
      <dgm:prSet presAssocID="{C34C367B-9E2C-4D23-A1CE-083797C74657}" presName="thinLine2b" presStyleLbl="callout" presStyleIdx="6" presStyleCnt="8"/>
      <dgm:spPr/>
    </dgm:pt>
    <dgm:pt modelId="{978B8107-990F-4AF3-8950-55656A66FD78}" type="pres">
      <dgm:prSet presAssocID="{C34C367B-9E2C-4D23-A1CE-083797C74657}" presName="vertSpace2b" presStyleCnt="0"/>
      <dgm:spPr/>
    </dgm:pt>
    <dgm:pt modelId="{A46184B8-47AE-49F0-87B3-5DC37719AA2C}" type="pres">
      <dgm:prSet presAssocID="{FE47C700-82B2-475E-BFDD-9897E04B267C}" presName="horz2" presStyleCnt="0"/>
      <dgm:spPr/>
    </dgm:pt>
    <dgm:pt modelId="{EB87FF1C-B1B6-46E1-83C0-181A78D42B7D}" type="pres">
      <dgm:prSet presAssocID="{FE47C700-82B2-475E-BFDD-9897E04B267C}" presName="horzSpace2" presStyleCnt="0"/>
      <dgm:spPr/>
    </dgm:pt>
    <dgm:pt modelId="{F9E0349C-19BB-4E5D-A50E-BE33D91790E8}" type="pres">
      <dgm:prSet presAssocID="{FE47C700-82B2-475E-BFDD-9897E04B267C}" presName="tx2" presStyleLbl="revTx" presStyleIdx="8" presStyleCnt="9" custScaleY="181535"/>
      <dgm:spPr/>
      <dgm:t>
        <a:bodyPr/>
        <a:lstStyle/>
        <a:p>
          <a:endParaRPr lang="hr-HR"/>
        </a:p>
      </dgm:t>
    </dgm:pt>
    <dgm:pt modelId="{0EB7C5FB-E028-4ED4-82E8-8F46CD33B358}" type="pres">
      <dgm:prSet presAssocID="{FE47C700-82B2-475E-BFDD-9897E04B267C}" presName="vert2" presStyleCnt="0"/>
      <dgm:spPr/>
    </dgm:pt>
    <dgm:pt modelId="{04878D61-81FE-4F13-ACB1-BE78B26D75F1}" type="pres">
      <dgm:prSet presAssocID="{FE47C700-82B2-475E-BFDD-9897E04B267C}" presName="thinLine2b" presStyleLbl="callout" presStyleIdx="7" presStyleCnt="8"/>
      <dgm:spPr/>
    </dgm:pt>
    <dgm:pt modelId="{910DF1F8-8C64-4048-A858-CC70215420AF}" type="pres">
      <dgm:prSet presAssocID="{FE47C700-82B2-475E-BFDD-9897E04B267C}" presName="vertSpace2b" presStyleCnt="0"/>
      <dgm:spPr/>
    </dgm:pt>
  </dgm:ptLst>
  <dgm:cxnLst>
    <dgm:cxn modelId="{7846B9B5-C2D6-4202-8B75-A4C224FAB102}" srcId="{F81860E6-71FF-4C5A-8B6F-00D5343A9FBF}" destId="{0CCF844D-CECA-4752-A2E7-79D55C9B48A4}" srcOrd="3" destOrd="0" parTransId="{761847B0-B9D0-41EA-AA32-86CC94AADF23}" sibTransId="{50E431BA-8852-4499-BBD2-7273E8F3382D}"/>
    <dgm:cxn modelId="{F626AD76-E815-4670-B48B-C529439E4A1C}" srcId="{F81860E6-71FF-4C5A-8B6F-00D5343A9FBF}" destId="{FE47C700-82B2-475E-BFDD-9897E04B267C}" srcOrd="7" destOrd="0" parTransId="{52518BB1-F35D-4B2E-995D-98ED6A70ECF0}" sibTransId="{2FA20BE4-D0E6-42D8-8EE6-E0E8DAACE0DB}"/>
    <dgm:cxn modelId="{717DF059-BD1E-4915-BAD6-709C73B45844}" type="presOf" srcId="{EE301C1D-F021-49A2-B603-10676C1CA9CF}" destId="{042B5794-D8FF-43F4-80F5-53357EA7A6EE}" srcOrd="0" destOrd="0" presId="urn:microsoft.com/office/officeart/2008/layout/LinedList"/>
    <dgm:cxn modelId="{1F49F2D0-86B5-4BD7-8BBA-72F2AEF97334}" type="presOf" srcId="{A0682142-CCC4-431E-9CAE-F34F449F517C}" destId="{C0E5ADA6-5626-48CC-8C28-B8D32358EBCE}" srcOrd="0" destOrd="0" presId="urn:microsoft.com/office/officeart/2008/layout/LinedList"/>
    <dgm:cxn modelId="{2747CE38-CE02-433F-A288-160EA967C123}" type="presOf" srcId="{C516A536-8F93-45B2-A0AD-49BA0323EBDF}" destId="{663725E5-F51D-4233-B014-B7177A95F1C1}" srcOrd="0" destOrd="0" presId="urn:microsoft.com/office/officeart/2008/layout/LinedList"/>
    <dgm:cxn modelId="{3349B8E7-2F38-4652-820D-D061C9AC6178}" srcId="{F81860E6-71FF-4C5A-8B6F-00D5343A9FBF}" destId="{FE7B70F6-FF71-4A83-A5FA-29D86EE0A33A}" srcOrd="2" destOrd="0" parTransId="{DFA051D7-B07E-4522-9A8E-8358A3DE0AB7}" sibTransId="{71BAB3A8-CE09-406C-8E80-62FF0E459AE3}"/>
    <dgm:cxn modelId="{74FC0248-598C-4BF9-995E-CE04616419FB}" type="presOf" srcId="{FE7B70F6-FF71-4A83-A5FA-29D86EE0A33A}" destId="{CDD340F4-3F54-4727-9C4A-CF41DD90399F}" srcOrd="0" destOrd="0" presId="urn:microsoft.com/office/officeart/2008/layout/LinedList"/>
    <dgm:cxn modelId="{AA9E064A-C08C-4487-9D03-18C5BD69DBFE}" srcId="{F81860E6-71FF-4C5A-8B6F-00D5343A9FBF}" destId="{C516A536-8F93-45B2-A0AD-49BA0323EBDF}" srcOrd="1" destOrd="0" parTransId="{809BD3E0-5084-49FE-8E38-421100558FFA}" sibTransId="{08A309D8-F12D-4861-AA38-8B7239BF6D85}"/>
    <dgm:cxn modelId="{139691A4-0C61-48A1-A093-B63B094E609A}" type="presOf" srcId="{CEF07FD0-C254-4E52-8893-4BB1AB86746A}" destId="{CE07EFE7-2FA4-4573-8384-13B641F583A9}" srcOrd="0" destOrd="0" presId="urn:microsoft.com/office/officeart/2008/layout/LinedList"/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E93C717C-0264-4BCC-B0B6-9208DCE4E965}" type="presOf" srcId="{FE47C700-82B2-475E-BFDD-9897E04B267C}" destId="{F9E0349C-19BB-4E5D-A50E-BE33D91790E8}" srcOrd="0" destOrd="0" presId="urn:microsoft.com/office/officeart/2008/layout/LinedList"/>
    <dgm:cxn modelId="{F07733FC-865B-43BA-A181-81B0C39E94E7}" type="presOf" srcId="{FA865932-436F-4B3D-A6F0-1FFB4AE6C3AF}" destId="{7B408F82-B915-4A2B-B54C-E4F12833B7D7}" srcOrd="0" destOrd="0" presId="urn:microsoft.com/office/officeart/2008/layout/LinedList"/>
    <dgm:cxn modelId="{C5DDC7C0-4BEF-464F-B253-5574D2343BCF}" type="presOf" srcId="{C34C367B-9E2C-4D23-A1CE-083797C74657}" destId="{430CD1DC-3D2A-42A2-A022-E4E0B2DE1CC2}" srcOrd="0" destOrd="0" presId="urn:microsoft.com/office/officeart/2008/layout/LinedList"/>
    <dgm:cxn modelId="{728C613E-82E5-46F2-8692-9D29FB94666F}" srcId="{F81860E6-71FF-4C5A-8B6F-00D5343A9FBF}" destId="{C34C367B-9E2C-4D23-A1CE-083797C74657}" srcOrd="6" destOrd="0" parTransId="{1A0EF08B-DFDD-4E0F-8CFB-203019DAE907}" sibTransId="{38954451-CEA0-4C29-A274-4F441BE7C358}"/>
    <dgm:cxn modelId="{17D6D3D3-C7A4-4212-BE17-7161DCFA4FB5}" type="presOf" srcId="{0CCF844D-CECA-4752-A2E7-79D55C9B48A4}" destId="{8E75F5AB-4B5E-4C59-BF80-AA459B07360A}" srcOrd="0" destOrd="0" presId="urn:microsoft.com/office/officeart/2008/layout/LinedList"/>
    <dgm:cxn modelId="{8E123A22-8CE1-4E60-A780-733C91E62C44}" srcId="{F81860E6-71FF-4C5A-8B6F-00D5343A9FBF}" destId="{CEF07FD0-C254-4E52-8893-4BB1AB86746A}" srcOrd="5" destOrd="0" parTransId="{8EEF716E-F0C0-4F82-883F-93B66D360656}" sibTransId="{77FE8D84-B730-4AA7-9ACE-D238C36ACEF2}"/>
    <dgm:cxn modelId="{72136B75-3BDB-45D6-A45C-B2590F08E34E}" type="presOf" srcId="{F81860E6-71FF-4C5A-8B6F-00D5343A9FBF}" destId="{4C7F5237-0324-4260-9793-CB76BF412075}" srcOrd="0" destOrd="0" presId="urn:microsoft.com/office/officeart/2008/layout/LinedList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69250F9F-F2FE-4BDE-B79A-E7B71FE94D7C}" srcId="{F81860E6-71FF-4C5A-8B6F-00D5343A9FBF}" destId="{FA865932-436F-4B3D-A6F0-1FFB4AE6C3AF}" srcOrd="4" destOrd="0" parTransId="{BA6F8D12-5684-428A-8CD2-23C675684D30}" sibTransId="{E0F26826-B070-4F7E-8550-FD033BF3E2B3}"/>
    <dgm:cxn modelId="{1E70D768-EC87-4E03-A7F9-8AE7B1A59963}" type="presParOf" srcId="{042B5794-D8FF-43F4-80F5-53357EA7A6EE}" destId="{9A1305B0-254E-4140-926F-16230D24101D}" srcOrd="0" destOrd="0" presId="urn:microsoft.com/office/officeart/2008/layout/LinedList"/>
    <dgm:cxn modelId="{2793E673-0085-4861-9DF6-963BD4B9EEAF}" type="presParOf" srcId="{042B5794-D8FF-43F4-80F5-53357EA7A6EE}" destId="{0F7DA4C8-DA94-432E-A121-23DBF30777CC}" srcOrd="1" destOrd="0" presId="urn:microsoft.com/office/officeart/2008/layout/LinedList"/>
    <dgm:cxn modelId="{FC8E7711-A29A-4F90-AFDB-C59EF094D3F9}" type="presParOf" srcId="{0F7DA4C8-DA94-432E-A121-23DBF30777CC}" destId="{4C7F5237-0324-4260-9793-CB76BF412075}" srcOrd="0" destOrd="0" presId="urn:microsoft.com/office/officeart/2008/layout/LinedList"/>
    <dgm:cxn modelId="{1367C73F-B79F-4805-9652-C8F90B3D206F}" type="presParOf" srcId="{0F7DA4C8-DA94-432E-A121-23DBF30777CC}" destId="{50D5FF3D-1E59-490D-AF2B-68D404286DA0}" srcOrd="1" destOrd="0" presId="urn:microsoft.com/office/officeart/2008/layout/LinedList"/>
    <dgm:cxn modelId="{F18CCC4E-2845-4CD4-94FB-98A92B6E4B46}" type="presParOf" srcId="{50D5FF3D-1E59-490D-AF2B-68D404286DA0}" destId="{5361CC5E-7588-4FC1-92FC-3D5BE10D89A8}" srcOrd="0" destOrd="0" presId="urn:microsoft.com/office/officeart/2008/layout/LinedList"/>
    <dgm:cxn modelId="{9AC8D682-7228-4649-944B-C7BDA3DB1E2B}" type="presParOf" srcId="{50D5FF3D-1E59-490D-AF2B-68D404286DA0}" destId="{E3C9805F-FB41-4F80-9438-0D13A45543D8}" srcOrd="1" destOrd="0" presId="urn:microsoft.com/office/officeart/2008/layout/LinedList"/>
    <dgm:cxn modelId="{0A337A77-9830-462F-AD89-BE3BF847592E}" type="presParOf" srcId="{E3C9805F-FB41-4F80-9438-0D13A45543D8}" destId="{6C1F257C-1AE6-42BE-B903-246250B43A10}" srcOrd="0" destOrd="0" presId="urn:microsoft.com/office/officeart/2008/layout/LinedList"/>
    <dgm:cxn modelId="{8979B8DC-FEE8-4430-8F8B-84E1F91903AA}" type="presParOf" srcId="{E3C9805F-FB41-4F80-9438-0D13A45543D8}" destId="{C0E5ADA6-5626-48CC-8C28-B8D32358EBCE}" srcOrd="1" destOrd="0" presId="urn:microsoft.com/office/officeart/2008/layout/LinedList"/>
    <dgm:cxn modelId="{3AF83450-01A2-40D4-9ABF-EA66184F5EB4}" type="presParOf" srcId="{E3C9805F-FB41-4F80-9438-0D13A45543D8}" destId="{D8B8CB68-E124-4BF5-9AB9-F5DB60B41BC0}" srcOrd="2" destOrd="0" presId="urn:microsoft.com/office/officeart/2008/layout/LinedList"/>
    <dgm:cxn modelId="{0DF5CA70-149C-4AEF-B08E-09E6B692EB34}" type="presParOf" srcId="{50D5FF3D-1E59-490D-AF2B-68D404286DA0}" destId="{56FBDD4E-9FCB-49BB-A34B-30F9BF8C8627}" srcOrd="2" destOrd="0" presId="urn:microsoft.com/office/officeart/2008/layout/LinedList"/>
    <dgm:cxn modelId="{E5211F26-F7FD-470F-937D-3E0167C93B51}" type="presParOf" srcId="{50D5FF3D-1E59-490D-AF2B-68D404286DA0}" destId="{8DCCCC70-9148-4997-858B-30DEA291C510}" srcOrd="3" destOrd="0" presId="urn:microsoft.com/office/officeart/2008/layout/LinedList"/>
    <dgm:cxn modelId="{D50BC70E-FD8E-4BB3-9D49-17712B3F4629}" type="presParOf" srcId="{50D5FF3D-1E59-490D-AF2B-68D404286DA0}" destId="{F0DEAF44-DB6A-4031-96FC-5742CAB9CD3C}" srcOrd="4" destOrd="0" presId="urn:microsoft.com/office/officeart/2008/layout/LinedList"/>
    <dgm:cxn modelId="{8D534259-7814-46B2-B6F5-03EC6FA784BE}" type="presParOf" srcId="{F0DEAF44-DB6A-4031-96FC-5742CAB9CD3C}" destId="{B5A81A6E-2257-4790-A477-9C4DA658D429}" srcOrd="0" destOrd="0" presId="urn:microsoft.com/office/officeart/2008/layout/LinedList"/>
    <dgm:cxn modelId="{E4A08466-2D4C-4B42-9851-895A537922B4}" type="presParOf" srcId="{F0DEAF44-DB6A-4031-96FC-5742CAB9CD3C}" destId="{663725E5-F51D-4233-B014-B7177A95F1C1}" srcOrd="1" destOrd="0" presId="urn:microsoft.com/office/officeart/2008/layout/LinedList"/>
    <dgm:cxn modelId="{11AB9C25-BCBA-4B5B-A0FF-F196FA600236}" type="presParOf" srcId="{F0DEAF44-DB6A-4031-96FC-5742CAB9CD3C}" destId="{CE323635-990B-4352-B918-9BBD1DB44139}" srcOrd="2" destOrd="0" presId="urn:microsoft.com/office/officeart/2008/layout/LinedList"/>
    <dgm:cxn modelId="{D0330890-0E49-4AC4-B5E1-B62BB3CF9F05}" type="presParOf" srcId="{50D5FF3D-1E59-490D-AF2B-68D404286DA0}" destId="{B8F58205-3C58-49D2-B188-878188937002}" srcOrd="5" destOrd="0" presId="urn:microsoft.com/office/officeart/2008/layout/LinedList"/>
    <dgm:cxn modelId="{DED4D043-DCDD-4634-8C71-C5D0EACBF0B3}" type="presParOf" srcId="{50D5FF3D-1E59-490D-AF2B-68D404286DA0}" destId="{B8063BFC-C27D-433B-92F8-C7ECB31501A5}" srcOrd="6" destOrd="0" presId="urn:microsoft.com/office/officeart/2008/layout/LinedList"/>
    <dgm:cxn modelId="{0C0AAE25-40CF-457E-B40A-930CC0223DEF}" type="presParOf" srcId="{50D5FF3D-1E59-490D-AF2B-68D404286DA0}" destId="{5AE38F42-E8E8-44F0-9042-98A637D429F2}" srcOrd="7" destOrd="0" presId="urn:microsoft.com/office/officeart/2008/layout/LinedList"/>
    <dgm:cxn modelId="{47CDEEE2-F236-435D-883B-D49075D34623}" type="presParOf" srcId="{5AE38F42-E8E8-44F0-9042-98A637D429F2}" destId="{6C04B9A6-1B94-4CDC-8B12-1123FBBAFA5A}" srcOrd="0" destOrd="0" presId="urn:microsoft.com/office/officeart/2008/layout/LinedList"/>
    <dgm:cxn modelId="{A969FFC2-64F0-4080-B009-A5B00C470F60}" type="presParOf" srcId="{5AE38F42-E8E8-44F0-9042-98A637D429F2}" destId="{CDD340F4-3F54-4727-9C4A-CF41DD90399F}" srcOrd="1" destOrd="0" presId="urn:microsoft.com/office/officeart/2008/layout/LinedList"/>
    <dgm:cxn modelId="{7CBFCF20-8FDA-4FD7-856C-D08AF5065D91}" type="presParOf" srcId="{5AE38F42-E8E8-44F0-9042-98A637D429F2}" destId="{3637F02E-5718-499A-B409-4B2C0392B0FB}" srcOrd="2" destOrd="0" presId="urn:microsoft.com/office/officeart/2008/layout/LinedList"/>
    <dgm:cxn modelId="{11A87161-2872-473B-875D-729D9A80A83A}" type="presParOf" srcId="{50D5FF3D-1E59-490D-AF2B-68D404286DA0}" destId="{C74E0AD9-59CA-43EB-8835-7C8EF770B891}" srcOrd="8" destOrd="0" presId="urn:microsoft.com/office/officeart/2008/layout/LinedList"/>
    <dgm:cxn modelId="{B0D51A67-CD8E-448C-9ACF-F0308059F131}" type="presParOf" srcId="{50D5FF3D-1E59-490D-AF2B-68D404286DA0}" destId="{0EC4C84B-500B-4A84-9734-B66D4D2D1F08}" srcOrd="9" destOrd="0" presId="urn:microsoft.com/office/officeart/2008/layout/LinedList"/>
    <dgm:cxn modelId="{07CE041A-DA62-4AC6-9896-64EAF715D4A0}" type="presParOf" srcId="{50D5FF3D-1E59-490D-AF2B-68D404286DA0}" destId="{892E7AEA-B19E-4E5D-8480-FA623517A5A7}" srcOrd="10" destOrd="0" presId="urn:microsoft.com/office/officeart/2008/layout/LinedList"/>
    <dgm:cxn modelId="{353D5353-472B-4E32-962A-14183354A63C}" type="presParOf" srcId="{892E7AEA-B19E-4E5D-8480-FA623517A5A7}" destId="{C1D024DE-D9D5-476C-84C7-E54B6673FF35}" srcOrd="0" destOrd="0" presId="urn:microsoft.com/office/officeart/2008/layout/LinedList"/>
    <dgm:cxn modelId="{017C0CD5-88BA-49CA-B5CB-F087F396E182}" type="presParOf" srcId="{892E7AEA-B19E-4E5D-8480-FA623517A5A7}" destId="{8E75F5AB-4B5E-4C59-BF80-AA459B07360A}" srcOrd="1" destOrd="0" presId="urn:microsoft.com/office/officeart/2008/layout/LinedList"/>
    <dgm:cxn modelId="{86E85871-2BFD-4479-A7B7-B0A1D186A191}" type="presParOf" srcId="{892E7AEA-B19E-4E5D-8480-FA623517A5A7}" destId="{061FE7C5-E0DA-4D37-9C77-EFC32ADCC69E}" srcOrd="2" destOrd="0" presId="urn:microsoft.com/office/officeart/2008/layout/LinedList"/>
    <dgm:cxn modelId="{089B3099-640F-4FEF-AFE0-52BB06A7DB8F}" type="presParOf" srcId="{50D5FF3D-1E59-490D-AF2B-68D404286DA0}" destId="{A11B2BB4-765A-4538-89DC-4A37A551707E}" srcOrd="11" destOrd="0" presId="urn:microsoft.com/office/officeart/2008/layout/LinedList"/>
    <dgm:cxn modelId="{8E1FA31D-2AB3-4742-B353-F1B6C454714E}" type="presParOf" srcId="{50D5FF3D-1E59-490D-AF2B-68D404286DA0}" destId="{81B33922-F652-48EF-BD7F-1F10F7535873}" srcOrd="12" destOrd="0" presId="urn:microsoft.com/office/officeart/2008/layout/LinedList"/>
    <dgm:cxn modelId="{94398649-1298-4C50-A176-CDC9501DE2C4}" type="presParOf" srcId="{50D5FF3D-1E59-490D-AF2B-68D404286DA0}" destId="{85CBC90C-B26C-426A-A7B8-EACB01E31BC7}" srcOrd="13" destOrd="0" presId="urn:microsoft.com/office/officeart/2008/layout/LinedList"/>
    <dgm:cxn modelId="{F2EF4BD8-48DC-4136-8E64-F6036265B01C}" type="presParOf" srcId="{85CBC90C-B26C-426A-A7B8-EACB01E31BC7}" destId="{34C3A81C-7F52-4874-9320-52F6B4801956}" srcOrd="0" destOrd="0" presId="urn:microsoft.com/office/officeart/2008/layout/LinedList"/>
    <dgm:cxn modelId="{4FED3C88-31FB-4DCD-8093-FE5D1466A3DB}" type="presParOf" srcId="{85CBC90C-B26C-426A-A7B8-EACB01E31BC7}" destId="{7B408F82-B915-4A2B-B54C-E4F12833B7D7}" srcOrd="1" destOrd="0" presId="urn:microsoft.com/office/officeart/2008/layout/LinedList"/>
    <dgm:cxn modelId="{288A1D98-897B-4970-A235-79393887131A}" type="presParOf" srcId="{85CBC90C-B26C-426A-A7B8-EACB01E31BC7}" destId="{BE60A47E-2B39-4BEA-A956-48C8A3551869}" srcOrd="2" destOrd="0" presId="urn:microsoft.com/office/officeart/2008/layout/LinedList"/>
    <dgm:cxn modelId="{96CB8D9E-61E4-4FEA-A12F-3966D1134796}" type="presParOf" srcId="{50D5FF3D-1E59-490D-AF2B-68D404286DA0}" destId="{E0D4B9BA-132C-423E-9C74-109AF2D8E242}" srcOrd="14" destOrd="0" presId="urn:microsoft.com/office/officeart/2008/layout/LinedList"/>
    <dgm:cxn modelId="{F3CD21C1-E127-4324-8EDE-B630CABB3711}" type="presParOf" srcId="{50D5FF3D-1E59-490D-AF2B-68D404286DA0}" destId="{5C5EA8B9-FD5A-48D8-AA21-A1DACE6D4B8C}" srcOrd="15" destOrd="0" presId="urn:microsoft.com/office/officeart/2008/layout/LinedList"/>
    <dgm:cxn modelId="{83403337-663F-4998-88AE-5E789D3B4B79}" type="presParOf" srcId="{50D5FF3D-1E59-490D-AF2B-68D404286DA0}" destId="{B7C29266-1DF8-470C-8532-5C232FB8AC80}" srcOrd="16" destOrd="0" presId="urn:microsoft.com/office/officeart/2008/layout/LinedList"/>
    <dgm:cxn modelId="{9CE64A7C-F57C-43B3-9DC3-7BE6C4C93242}" type="presParOf" srcId="{B7C29266-1DF8-470C-8532-5C232FB8AC80}" destId="{F682056F-372C-4007-9E61-1B641C097AC2}" srcOrd="0" destOrd="0" presId="urn:microsoft.com/office/officeart/2008/layout/LinedList"/>
    <dgm:cxn modelId="{B1AABA47-24C1-4C1E-9D68-129E0270EB6D}" type="presParOf" srcId="{B7C29266-1DF8-470C-8532-5C232FB8AC80}" destId="{CE07EFE7-2FA4-4573-8384-13B641F583A9}" srcOrd="1" destOrd="0" presId="urn:microsoft.com/office/officeart/2008/layout/LinedList"/>
    <dgm:cxn modelId="{24AC894C-290E-4015-BFFD-1C99B48F2DCD}" type="presParOf" srcId="{B7C29266-1DF8-470C-8532-5C232FB8AC80}" destId="{72B69238-2F7B-4B6B-80D3-F04DEA343335}" srcOrd="2" destOrd="0" presId="urn:microsoft.com/office/officeart/2008/layout/LinedList"/>
    <dgm:cxn modelId="{F2377A86-AF81-42EA-BE22-1A83B6FDF4A2}" type="presParOf" srcId="{50D5FF3D-1E59-490D-AF2B-68D404286DA0}" destId="{6EB5F98D-BE62-40FF-A986-480FC73EF2CE}" srcOrd="17" destOrd="0" presId="urn:microsoft.com/office/officeart/2008/layout/LinedList"/>
    <dgm:cxn modelId="{1A458F07-B58A-4334-BE51-5FE2ED30BBB0}" type="presParOf" srcId="{50D5FF3D-1E59-490D-AF2B-68D404286DA0}" destId="{3657B351-346D-4156-8E22-BFCFF56D0360}" srcOrd="18" destOrd="0" presId="urn:microsoft.com/office/officeart/2008/layout/LinedList"/>
    <dgm:cxn modelId="{6AF21370-1D7D-47E0-A443-2E84E080C620}" type="presParOf" srcId="{50D5FF3D-1E59-490D-AF2B-68D404286DA0}" destId="{99CBDD5A-BC5A-48AA-A26A-1C9CC3536580}" srcOrd="19" destOrd="0" presId="urn:microsoft.com/office/officeart/2008/layout/LinedList"/>
    <dgm:cxn modelId="{1296D06E-3587-4718-A55C-E00DFA9388BA}" type="presParOf" srcId="{99CBDD5A-BC5A-48AA-A26A-1C9CC3536580}" destId="{02091513-D43D-49C5-8893-E3222B9F58E8}" srcOrd="0" destOrd="0" presId="urn:microsoft.com/office/officeart/2008/layout/LinedList"/>
    <dgm:cxn modelId="{C52D9684-C2B0-414D-B05B-64E221D9781B}" type="presParOf" srcId="{99CBDD5A-BC5A-48AA-A26A-1C9CC3536580}" destId="{430CD1DC-3D2A-42A2-A022-E4E0B2DE1CC2}" srcOrd="1" destOrd="0" presId="urn:microsoft.com/office/officeart/2008/layout/LinedList"/>
    <dgm:cxn modelId="{34807A2A-A583-493E-BB23-55F49F0048B3}" type="presParOf" srcId="{99CBDD5A-BC5A-48AA-A26A-1C9CC3536580}" destId="{2E474945-24BD-4D76-91CB-FE4345BAE03A}" srcOrd="2" destOrd="0" presId="urn:microsoft.com/office/officeart/2008/layout/LinedList"/>
    <dgm:cxn modelId="{0A01D818-1781-40DC-AD46-787EF32EF104}" type="presParOf" srcId="{50D5FF3D-1E59-490D-AF2B-68D404286DA0}" destId="{4DD5C6C4-7477-4130-80D3-C610BAFB1B9B}" srcOrd="20" destOrd="0" presId="urn:microsoft.com/office/officeart/2008/layout/LinedList"/>
    <dgm:cxn modelId="{1AA5DEEE-5459-439C-9FD4-A225342CC179}" type="presParOf" srcId="{50D5FF3D-1E59-490D-AF2B-68D404286DA0}" destId="{978B8107-990F-4AF3-8950-55656A66FD78}" srcOrd="21" destOrd="0" presId="urn:microsoft.com/office/officeart/2008/layout/LinedList"/>
    <dgm:cxn modelId="{5887F660-FB62-44B8-B062-E4AF1FDE3674}" type="presParOf" srcId="{50D5FF3D-1E59-490D-AF2B-68D404286DA0}" destId="{A46184B8-47AE-49F0-87B3-5DC37719AA2C}" srcOrd="22" destOrd="0" presId="urn:microsoft.com/office/officeart/2008/layout/LinedList"/>
    <dgm:cxn modelId="{78DA9632-AEF3-463D-B881-075CA57961EB}" type="presParOf" srcId="{A46184B8-47AE-49F0-87B3-5DC37719AA2C}" destId="{EB87FF1C-B1B6-46E1-83C0-181A78D42B7D}" srcOrd="0" destOrd="0" presId="urn:microsoft.com/office/officeart/2008/layout/LinedList"/>
    <dgm:cxn modelId="{AFC66BA1-34C3-4E48-906D-BCAA4E8DBC76}" type="presParOf" srcId="{A46184B8-47AE-49F0-87B3-5DC37719AA2C}" destId="{F9E0349C-19BB-4E5D-A50E-BE33D91790E8}" srcOrd="1" destOrd="0" presId="urn:microsoft.com/office/officeart/2008/layout/LinedList"/>
    <dgm:cxn modelId="{077872BE-7333-4CE1-BDFE-7E9657C18A7E}" type="presParOf" srcId="{A46184B8-47AE-49F0-87B3-5DC37719AA2C}" destId="{0EB7C5FB-E028-4ED4-82E8-8F46CD33B358}" srcOrd="2" destOrd="0" presId="urn:microsoft.com/office/officeart/2008/layout/LinedList"/>
    <dgm:cxn modelId="{FEE92BBE-280D-4871-A027-29DEAE859A24}" type="presParOf" srcId="{50D5FF3D-1E59-490D-AF2B-68D404286DA0}" destId="{04878D61-81FE-4F13-ACB1-BE78B26D75F1}" srcOrd="23" destOrd="0" presId="urn:microsoft.com/office/officeart/2008/layout/LinedList"/>
    <dgm:cxn modelId="{36DFE31B-C271-4664-9EA3-33C47DC6722D}" type="presParOf" srcId="{50D5FF3D-1E59-490D-AF2B-68D404286DA0}" destId="{910DF1F8-8C64-4048-A858-CC70215420AF}" srcOrd="24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81860E6-71FF-4C5A-8B6F-00D5343A9FBF}">
      <dgm:prSet phldrT="[Tekst]" custT="1"/>
      <dgm:spPr/>
      <dgm:t>
        <a:bodyPr/>
        <a:lstStyle/>
        <a:p>
          <a:pPr algn="l"/>
          <a:r>
            <a:rPr lang="hr-HR" sz="1800" b="1" dirty="0" smtClean="0"/>
            <a:t>Tehničke mjere potrebne za veću integraciju  OIE u EES</a:t>
          </a:r>
          <a:endParaRPr lang="hr-HR" sz="1800" dirty="0"/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 sz="1400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 sz="1400"/>
        </a:p>
      </dgm:t>
    </dgm:pt>
    <dgm:pt modelId="{A0682142-CCC4-431E-9CAE-F34F449F517C}">
      <dgm:prSet phldrT="[Tekst]" custT="1"/>
      <dgm:spPr/>
      <dgm:t>
        <a:bodyPr/>
        <a:lstStyle/>
        <a:p>
          <a:pPr algn="l"/>
          <a:r>
            <a:rPr lang="hr-HR" sz="1400" dirty="0" smtClean="0"/>
            <a:t>Izgradnja ili uključivanje postojećih proizvodnih objekata u sustav P/f regulacije,</a:t>
          </a:r>
          <a:endParaRPr lang="hr-HR" sz="1400" dirty="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 sz="1400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 sz="1400"/>
        </a:p>
      </dgm:t>
    </dgm:pt>
    <dgm:pt modelId="{2E838197-D726-413D-BC55-7AA177E09A2B}">
      <dgm:prSet custT="1"/>
      <dgm:spPr/>
      <dgm:t>
        <a:bodyPr/>
        <a:lstStyle/>
        <a:p>
          <a:pPr algn="l"/>
          <a:r>
            <a:rPr lang="hr-HR" sz="1400" dirty="0" smtClean="0"/>
            <a:t>Uvesti obvezu predviđanja proizvodnje iz OIE kako bi se smanjila pogreška predviđanja i nepredviđena promjenjivost proizvodnje OIE,</a:t>
          </a:r>
          <a:endParaRPr lang="hr-HR" sz="1400" dirty="0"/>
        </a:p>
      </dgm:t>
    </dgm:pt>
    <dgm:pt modelId="{204E10E0-1CCA-4FB6-BF7D-91DE1277DDEF}" type="parTrans" cxnId="{7F9E52EC-2DB1-47B5-AC6D-4BFA351B3906}">
      <dgm:prSet/>
      <dgm:spPr/>
      <dgm:t>
        <a:bodyPr/>
        <a:lstStyle/>
        <a:p>
          <a:endParaRPr lang="hr-HR" sz="1400"/>
        </a:p>
      </dgm:t>
    </dgm:pt>
    <dgm:pt modelId="{92D02759-5FEB-4360-B831-31DB2DFFE0FE}" type="sibTrans" cxnId="{7F9E52EC-2DB1-47B5-AC6D-4BFA351B3906}">
      <dgm:prSet/>
      <dgm:spPr/>
      <dgm:t>
        <a:bodyPr/>
        <a:lstStyle/>
        <a:p>
          <a:endParaRPr lang="hr-HR" sz="1400"/>
        </a:p>
      </dgm:t>
    </dgm:pt>
    <dgm:pt modelId="{ECECD6FB-70AB-45BB-8AC2-9088DD6D8B88}">
      <dgm:prSet custT="1"/>
      <dgm:spPr/>
      <dgm:t>
        <a:bodyPr/>
        <a:lstStyle/>
        <a:p>
          <a:pPr algn="l"/>
          <a:r>
            <a:rPr lang="hr-HR" sz="1400" dirty="0" smtClean="0"/>
            <a:t>Uvesti održivi sustav pružanja pomoćnih usluga.</a:t>
          </a:r>
          <a:endParaRPr lang="hr-HR" sz="1400" dirty="0"/>
        </a:p>
      </dgm:t>
    </dgm:pt>
    <dgm:pt modelId="{1935DBD8-506B-4343-952F-01D929FE0CA5}" type="parTrans" cxnId="{8EDBE940-C39B-4BEA-906E-C6B11C9AA0D8}">
      <dgm:prSet/>
      <dgm:spPr/>
      <dgm:t>
        <a:bodyPr/>
        <a:lstStyle/>
        <a:p>
          <a:endParaRPr lang="hr-HR" sz="1400"/>
        </a:p>
      </dgm:t>
    </dgm:pt>
    <dgm:pt modelId="{E5D1B1E0-1815-4985-B15E-377BD958F615}" type="sibTrans" cxnId="{8EDBE940-C39B-4BEA-906E-C6B11C9AA0D8}">
      <dgm:prSet/>
      <dgm:spPr/>
      <dgm:t>
        <a:bodyPr/>
        <a:lstStyle/>
        <a:p>
          <a:endParaRPr lang="hr-HR" sz="1400"/>
        </a:p>
      </dgm:t>
    </dgm:pt>
    <dgm:pt modelId="{4E3646F3-0226-4E3B-A6B2-399017D07D95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5A738299-58E5-4AD0-94BA-00127CCFF636}" type="pres">
      <dgm:prSet presAssocID="{F81860E6-71FF-4C5A-8B6F-00D5343A9FBF}" presName="thickLine" presStyleLbl="alignNode1" presStyleIdx="0" presStyleCnt="1"/>
      <dgm:spPr/>
    </dgm:pt>
    <dgm:pt modelId="{B934A5CA-BCD7-46CA-9182-0E81210BAE0C}" type="pres">
      <dgm:prSet presAssocID="{F81860E6-71FF-4C5A-8B6F-00D5343A9FBF}" presName="horz1" presStyleCnt="0"/>
      <dgm:spPr/>
    </dgm:pt>
    <dgm:pt modelId="{91CA5702-5BD7-4279-894D-228F061DAE22}" type="pres">
      <dgm:prSet presAssocID="{F81860E6-71FF-4C5A-8B6F-00D5343A9FBF}" presName="tx1" presStyleLbl="revTx" presStyleIdx="0" presStyleCnt="4"/>
      <dgm:spPr/>
      <dgm:t>
        <a:bodyPr/>
        <a:lstStyle/>
        <a:p>
          <a:endParaRPr lang="hr-HR"/>
        </a:p>
      </dgm:t>
    </dgm:pt>
    <dgm:pt modelId="{559D174D-B054-4A4F-AB40-6F910632D678}" type="pres">
      <dgm:prSet presAssocID="{F81860E6-71FF-4C5A-8B6F-00D5343A9FBF}" presName="vert1" presStyleCnt="0"/>
      <dgm:spPr/>
    </dgm:pt>
    <dgm:pt modelId="{53AD6284-2C0A-463D-AAD4-2D17BA92FC0C}" type="pres">
      <dgm:prSet presAssocID="{A0682142-CCC4-431E-9CAE-F34F449F517C}" presName="vertSpace2a" presStyleCnt="0"/>
      <dgm:spPr/>
    </dgm:pt>
    <dgm:pt modelId="{F38FB7AB-9B3F-4338-AD0F-5301ADF4DDA5}" type="pres">
      <dgm:prSet presAssocID="{A0682142-CCC4-431E-9CAE-F34F449F517C}" presName="horz2" presStyleCnt="0"/>
      <dgm:spPr/>
    </dgm:pt>
    <dgm:pt modelId="{6EBA5BFB-0FFC-415F-9550-90F995E1EC11}" type="pres">
      <dgm:prSet presAssocID="{A0682142-CCC4-431E-9CAE-F34F449F517C}" presName="horzSpace2" presStyleCnt="0"/>
      <dgm:spPr/>
    </dgm:pt>
    <dgm:pt modelId="{27BE26A3-FDC1-401D-9940-9C84458C32F0}" type="pres">
      <dgm:prSet presAssocID="{A0682142-CCC4-431E-9CAE-F34F449F517C}" presName="tx2" presStyleLbl="revTx" presStyleIdx="1" presStyleCnt="4" custScaleY="72867"/>
      <dgm:spPr/>
      <dgm:t>
        <a:bodyPr/>
        <a:lstStyle/>
        <a:p>
          <a:endParaRPr lang="hr-HR"/>
        </a:p>
      </dgm:t>
    </dgm:pt>
    <dgm:pt modelId="{7A97BE68-7E37-4A10-BA9E-A270C5E2201B}" type="pres">
      <dgm:prSet presAssocID="{A0682142-CCC4-431E-9CAE-F34F449F517C}" presName="vert2" presStyleCnt="0"/>
      <dgm:spPr/>
    </dgm:pt>
    <dgm:pt modelId="{AF7077A7-B486-4EAC-AC93-3E54B14979C8}" type="pres">
      <dgm:prSet presAssocID="{A0682142-CCC4-431E-9CAE-F34F449F517C}" presName="thinLine2b" presStyleLbl="callout" presStyleIdx="0" presStyleCnt="3"/>
      <dgm:spPr/>
    </dgm:pt>
    <dgm:pt modelId="{F7297859-2A73-45BC-A0C1-71E8285EA4ED}" type="pres">
      <dgm:prSet presAssocID="{A0682142-CCC4-431E-9CAE-F34F449F517C}" presName="vertSpace2b" presStyleCnt="0"/>
      <dgm:spPr/>
    </dgm:pt>
    <dgm:pt modelId="{64CE3EBE-8EB3-4C21-99AD-41DAA8E4182B}" type="pres">
      <dgm:prSet presAssocID="{2E838197-D726-413D-BC55-7AA177E09A2B}" presName="horz2" presStyleCnt="0"/>
      <dgm:spPr/>
    </dgm:pt>
    <dgm:pt modelId="{CD54CBA1-FB16-47B9-8C4C-3714C791503A}" type="pres">
      <dgm:prSet presAssocID="{2E838197-D726-413D-BC55-7AA177E09A2B}" presName="horzSpace2" presStyleCnt="0"/>
      <dgm:spPr/>
    </dgm:pt>
    <dgm:pt modelId="{0CB4F663-2E1E-4EE6-9928-3D94465D2D6A}" type="pres">
      <dgm:prSet presAssocID="{2E838197-D726-413D-BC55-7AA177E09A2B}" presName="tx2" presStyleLbl="revTx" presStyleIdx="2" presStyleCnt="4"/>
      <dgm:spPr/>
      <dgm:t>
        <a:bodyPr/>
        <a:lstStyle/>
        <a:p>
          <a:endParaRPr lang="hr-HR"/>
        </a:p>
      </dgm:t>
    </dgm:pt>
    <dgm:pt modelId="{463F3940-572D-481A-85A4-6D326D56D55F}" type="pres">
      <dgm:prSet presAssocID="{2E838197-D726-413D-BC55-7AA177E09A2B}" presName="vert2" presStyleCnt="0"/>
      <dgm:spPr/>
    </dgm:pt>
    <dgm:pt modelId="{283CC9ED-9870-4FB9-9EF1-A182E9851ECE}" type="pres">
      <dgm:prSet presAssocID="{2E838197-D726-413D-BC55-7AA177E09A2B}" presName="thinLine2b" presStyleLbl="callout" presStyleIdx="1" presStyleCnt="3"/>
      <dgm:spPr/>
    </dgm:pt>
    <dgm:pt modelId="{8D0CFEB6-F92A-4954-A6F5-5EBEBDB99997}" type="pres">
      <dgm:prSet presAssocID="{2E838197-D726-413D-BC55-7AA177E09A2B}" presName="vertSpace2b" presStyleCnt="0"/>
      <dgm:spPr/>
    </dgm:pt>
    <dgm:pt modelId="{BF6A26C3-B3B7-4243-9876-54F88EB469E8}" type="pres">
      <dgm:prSet presAssocID="{ECECD6FB-70AB-45BB-8AC2-9088DD6D8B88}" presName="horz2" presStyleCnt="0"/>
      <dgm:spPr/>
    </dgm:pt>
    <dgm:pt modelId="{EB89A71A-12F6-4AB7-9EE9-7BDB55EBA1DF}" type="pres">
      <dgm:prSet presAssocID="{ECECD6FB-70AB-45BB-8AC2-9088DD6D8B88}" presName="horzSpace2" presStyleCnt="0"/>
      <dgm:spPr/>
    </dgm:pt>
    <dgm:pt modelId="{ABCBE2CB-E31B-41C4-A348-D40C888AB017}" type="pres">
      <dgm:prSet presAssocID="{ECECD6FB-70AB-45BB-8AC2-9088DD6D8B88}" presName="tx2" presStyleLbl="revTx" presStyleIdx="3" presStyleCnt="4" custScaleY="56176"/>
      <dgm:spPr/>
      <dgm:t>
        <a:bodyPr/>
        <a:lstStyle/>
        <a:p>
          <a:endParaRPr lang="hr-HR"/>
        </a:p>
      </dgm:t>
    </dgm:pt>
    <dgm:pt modelId="{D3C1134A-8BB2-4E21-BB71-DF84C71BBF07}" type="pres">
      <dgm:prSet presAssocID="{ECECD6FB-70AB-45BB-8AC2-9088DD6D8B88}" presName="vert2" presStyleCnt="0"/>
      <dgm:spPr/>
    </dgm:pt>
    <dgm:pt modelId="{4D953D42-650C-4FF1-B980-2689131B1270}" type="pres">
      <dgm:prSet presAssocID="{ECECD6FB-70AB-45BB-8AC2-9088DD6D8B88}" presName="thinLine2b" presStyleLbl="callout" presStyleIdx="2" presStyleCnt="3"/>
      <dgm:spPr/>
    </dgm:pt>
    <dgm:pt modelId="{AF417FE5-37E3-4B29-BB63-283D10D0C87F}" type="pres">
      <dgm:prSet presAssocID="{ECECD6FB-70AB-45BB-8AC2-9088DD6D8B88}" presName="vertSpace2b" presStyleCnt="0"/>
      <dgm:spPr/>
    </dgm:pt>
  </dgm:ptLst>
  <dgm:cxnLst>
    <dgm:cxn modelId="{5371A8A7-7F5C-42F9-9162-C4821980FA7A}" type="presOf" srcId="{A0682142-CCC4-431E-9CAE-F34F449F517C}" destId="{27BE26A3-FDC1-401D-9940-9C84458C32F0}" srcOrd="0" destOrd="0" presId="urn:microsoft.com/office/officeart/2008/layout/LinedList"/>
    <dgm:cxn modelId="{02ADC3C3-D137-4266-809A-6EE6BB7B2FA6}" type="presOf" srcId="{ECECD6FB-70AB-45BB-8AC2-9088DD6D8B88}" destId="{ABCBE2CB-E31B-41C4-A348-D40C888AB017}" srcOrd="0" destOrd="0" presId="urn:microsoft.com/office/officeart/2008/layout/LinedList"/>
    <dgm:cxn modelId="{37D93CEF-B498-4AD8-B743-64E1DB611E2D}" type="presOf" srcId="{2E838197-D726-413D-BC55-7AA177E09A2B}" destId="{0CB4F663-2E1E-4EE6-9928-3D94465D2D6A}" srcOrd="0" destOrd="0" presId="urn:microsoft.com/office/officeart/2008/layout/LinedList"/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7F9E52EC-2DB1-47B5-AC6D-4BFA351B3906}" srcId="{F81860E6-71FF-4C5A-8B6F-00D5343A9FBF}" destId="{2E838197-D726-413D-BC55-7AA177E09A2B}" srcOrd="1" destOrd="0" parTransId="{204E10E0-1CCA-4FB6-BF7D-91DE1277DDEF}" sibTransId="{92D02759-5FEB-4360-B831-31DB2DFFE0FE}"/>
    <dgm:cxn modelId="{6334D8E6-D366-47D4-9FD9-281059DF125B}" type="presOf" srcId="{F81860E6-71FF-4C5A-8B6F-00D5343A9FBF}" destId="{91CA5702-5BD7-4279-894D-228F061DAE22}" srcOrd="0" destOrd="0" presId="urn:microsoft.com/office/officeart/2008/layout/LinedList"/>
    <dgm:cxn modelId="{99CC2D94-E46F-4529-B977-C1B95E701037}" type="presOf" srcId="{EE301C1D-F021-49A2-B603-10676C1CA9CF}" destId="{4E3646F3-0226-4E3B-A6B2-399017D07D95}" srcOrd="0" destOrd="0" presId="urn:microsoft.com/office/officeart/2008/layout/LinedList"/>
    <dgm:cxn modelId="{8EDBE940-C39B-4BEA-906E-C6B11C9AA0D8}" srcId="{F81860E6-71FF-4C5A-8B6F-00D5343A9FBF}" destId="{ECECD6FB-70AB-45BB-8AC2-9088DD6D8B88}" srcOrd="2" destOrd="0" parTransId="{1935DBD8-506B-4343-952F-01D929FE0CA5}" sibTransId="{E5D1B1E0-1815-4985-B15E-377BD958F615}"/>
    <dgm:cxn modelId="{66D21308-9A8A-4BA6-9A2A-213F934C7948}" type="presParOf" srcId="{4E3646F3-0226-4E3B-A6B2-399017D07D95}" destId="{5A738299-58E5-4AD0-94BA-00127CCFF636}" srcOrd="0" destOrd="0" presId="urn:microsoft.com/office/officeart/2008/layout/LinedList"/>
    <dgm:cxn modelId="{13823455-ACA7-42BC-9B39-219F9A4C43F6}" type="presParOf" srcId="{4E3646F3-0226-4E3B-A6B2-399017D07D95}" destId="{B934A5CA-BCD7-46CA-9182-0E81210BAE0C}" srcOrd="1" destOrd="0" presId="urn:microsoft.com/office/officeart/2008/layout/LinedList"/>
    <dgm:cxn modelId="{8EC4EF31-8149-4086-8977-3C0084666B15}" type="presParOf" srcId="{B934A5CA-BCD7-46CA-9182-0E81210BAE0C}" destId="{91CA5702-5BD7-4279-894D-228F061DAE22}" srcOrd="0" destOrd="0" presId="urn:microsoft.com/office/officeart/2008/layout/LinedList"/>
    <dgm:cxn modelId="{4D316350-8B5E-4B71-A6C5-30459C1FD474}" type="presParOf" srcId="{B934A5CA-BCD7-46CA-9182-0E81210BAE0C}" destId="{559D174D-B054-4A4F-AB40-6F910632D678}" srcOrd="1" destOrd="0" presId="urn:microsoft.com/office/officeart/2008/layout/LinedList"/>
    <dgm:cxn modelId="{A8BFCC05-56F9-4A0D-913A-A3A2A4FF4147}" type="presParOf" srcId="{559D174D-B054-4A4F-AB40-6F910632D678}" destId="{53AD6284-2C0A-463D-AAD4-2D17BA92FC0C}" srcOrd="0" destOrd="0" presId="urn:microsoft.com/office/officeart/2008/layout/LinedList"/>
    <dgm:cxn modelId="{4D71863F-0EDC-42DC-8BCD-3DBBB2631166}" type="presParOf" srcId="{559D174D-B054-4A4F-AB40-6F910632D678}" destId="{F38FB7AB-9B3F-4338-AD0F-5301ADF4DDA5}" srcOrd="1" destOrd="0" presId="urn:microsoft.com/office/officeart/2008/layout/LinedList"/>
    <dgm:cxn modelId="{83BC9B04-660C-4E44-9E0A-CF3B7357361B}" type="presParOf" srcId="{F38FB7AB-9B3F-4338-AD0F-5301ADF4DDA5}" destId="{6EBA5BFB-0FFC-415F-9550-90F995E1EC11}" srcOrd="0" destOrd="0" presId="urn:microsoft.com/office/officeart/2008/layout/LinedList"/>
    <dgm:cxn modelId="{CE3E539B-58D5-46F1-AB5F-B91F7E9D9F39}" type="presParOf" srcId="{F38FB7AB-9B3F-4338-AD0F-5301ADF4DDA5}" destId="{27BE26A3-FDC1-401D-9940-9C84458C32F0}" srcOrd="1" destOrd="0" presId="urn:microsoft.com/office/officeart/2008/layout/LinedList"/>
    <dgm:cxn modelId="{07490BC6-CF80-4A8A-8C7A-9DD3712217B5}" type="presParOf" srcId="{F38FB7AB-9B3F-4338-AD0F-5301ADF4DDA5}" destId="{7A97BE68-7E37-4A10-BA9E-A270C5E2201B}" srcOrd="2" destOrd="0" presId="urn:microsoft.com/office/officeart/2008/layout/LinedList"/>
    <dgm:cxn modelId="{20CB65DC-97C2-46D3-A53E-2B92597055F0}" type="presParOf" srcId="{559D174D-B054-4A4F-AB40-6F910632D678}" destId="{AF7077A7-B486-4EAC-AC93-3E54B14979C8}" srcOrd="2" destOrd="0" presId="urn:microsoft.com/office/officeart/2008/layout/LinedList"/>
    <dgm:cxn modelId="{E0DC28B5-83E2-4C17-BDCA-BEE18BE16AF6}" type="presParOf" srcId="{559D174D-B054-4A4F-AB40-6F910632D678}" destId="{F7297859-2A73-45BC-A0C1-71E8285EA4ED}" srcOrd="3" destOrd="0" presId="urn:microsoft.com/office/officeart/2008/layout/LinedList"/>
    <dgm:cxn modelId="{66D23455-ABEC-48D6-A95C-C7312771E3AB}" type="presParOf" srcId="{559D174D-B054-4A4F-AB40-6F910632D678}" destId="{64CE3EBE-8EB3-4C21-99AD-41DAA8E4182B}" srcOrd="4" destOrd="0" presId="urn:microsoft.com/office/officeart/2008/layout/LinedList"/>
    <dgm:cxn modelId="{16836E04-DF13-4637-9D91-776FC40ED3E1}" type="presParOf" srcId="{64CE3EBE-8EB3-4C21-99AD-41DAA8E4182B}" destId="{CD54CBA1-FB16-47B9-8C4C-3714C791503A}" srcOrd="0" destOrd="0" presId="urn:microsoft.com/office/officeart/2008/layout/LinedList"/>
    <dgm:cxn modelId="{B2F5D94E-B187-40B9-A115-5B042BF760F3}" type="presParOf" srcId="{64CE3EBE-8EB3-4C21-99AD-41DAA8E4182B}" destId="{0CB4F663-2E1E-4EE6-9928-3D94465D2D6A}" srcOrd="1" destOrd="0" presId="urn:microsoft.com/office/officeart/2008/layout/LinedList"/>
    <dgm:cxn modelId="{538D31D5-426E-43A3-9C8A-508ED55862B4}" type="presParOf" srcId="{64CE3EBE-8EB3-4C21-99AD-41DAA8E4182B}" destId="{463F3940-572D-481A-85A4-6D326D56D55F}" srcOrd="2" destOrd="0" presId="urn:microsoft.com/office/officeart/2008/layout/LinedList"/>
    <dgm:cxn modelId="{A910453C-1B15-43A4-BFB5-2BB0453BD3C3}" type="presParOf" srcId="{559D174D-B054-4A4F-AB40-6F910632D678}" destId="{283CC9ED-9870-4FB9-9EF1-A182E9851ECE}" srcOrd="5" destOrd="0" presId="urn:microsoft.com/office/officeart/2008/layout/LinedList"/>
    <dgm:cxn modelId="{7CC8E8DB-A7EB-4BA7-897E-BEC7EFBCDBD3}" type="presParOf" srcId="{559D174D-B054-4A4F-AB40-6F910632D678}" destId="{8D0CFEB6-F92A-4954-A6F5-5EBEBDB99997}" srcOrd="6" destOrd="0" presId="urn:microsoft.com/office/officeart/2008/layout/LinedList"/>
    <dgm:cxn modelId="{C3A9D129-EA11-4768-B73A-9C53FB7D0B11}" type="presParOf" srcId="{559D174D-B054-4A4F-AB40-6F910632D678}" destId="{BF6A26C3-B3B7-4243-9876-54F88EB469E8}" srcOrd="7" destOrd="0" presId="urn:microsoft.com/office/officeart/2008/layout/LinedList"/>
    <dgm:cxn modelId="{E5EDB176-E573-473A-A346-70AF16B4E3D1}" type="presParOf" srcId="{BF6A26C3-B3B7-4243-9876-54F88EB469E8}" destId="{EB89A71A-12F6-4AB7-9EE9-7BDB55EBA1DF}" srcOrd="0" destOrd="0" presId="urn:microsoft.com/office/officeart/2008/layout/LinedList"/>
    <dgm:cxn modelId="{F7C24318-2CC6-4383-85E9-783BA7F5B4DE}" type="presParOf" srcId="{BF6A26C3-B3B7-4243-9876-54F88EB469E8}" destId="{ABCBE2CB-E31B-41C4-A348-D40C888AB017}" srcOrd="1" destOrd="0" presId="urn:microsoft.com/office/officeart/2008/layout/LinedList"/>
    <dgm:cxn modelId="{B6DC654D-C154-4F24-8BFE-A61017453044}" type="presParOf" srcId="{BF6A26C3-B3B7-4243-9876-54F88EB469E8}" destId="{D3C1134A-8BB2-4E21-BB71-DF84C71BBF07}" srcOrd="2" destOrd="0" presId="urn:microsoft.com/office/officeart/2008/layout/LinedList"/>
    <dgm:cxn modelId="{B0B20B89-5C5C-4276-93F3-1D8C80F55EE7}" type="presParOf" srcId="{559D174D-B054-4A4F-AB40-6F910632D678}" destId="{4D953D42-650C-4FF1-B980-2689131B1270}" srcOrd="8" destOrd="0" presId="urn:microsoft.com/office/officeart/2008/layout/LinedList"/>
    <dgm:cxn modelId="{0085ED77-4AB3-4A53-B6A5-C3549B611388}" type="presParOf" srcId="{559D174D-B054-4A4F-AB40-6F910632D678}" destId="{AF417FE5-37E3-4B29-BB63-283D10D0C87F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81860E6-71FF-4C5A-8B6F-00D5343A9FBF}">
      <dgm:prSet phldrT="[Tekst]" custT="1"/>
      <dgm:spPr/>
      <dgm:t>
        <a:bodyPr/>
        <a:lstStyle/>
        <a:p>
          <a:pPr algn="l"/>
          <a:r>
            <a:rPr lang="hr-HR" sz="1800" b="1" dirty="0" smtClean="0"/>
            <a:t>Administrativne i organizacijske mjere za veću integraciju  OIE u EES</a:t>
          </a:r>
          <a:endParaRPr lang="hr-HR" sz="1800" dirty="0"/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 sz="1300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 sz="1300"/>
        </a:p>
      </dgm:t>
    </dgm:pt>
    <dgm:pt modelId="{A0682142-CCC4-431E-9CAE-F34F449F517C}">
      <dgm:prSet phldrT="[Tekst]" custT="1"/>
      <dgm:spPr/>
      <dgm:t>
        <a:bodyPr/>
        <a:lstStyle/>
        <a:p>
          <a:pPr algn="l"/>
          <a:r>
            <a:rPr lang="hr-HR" sz="1300" dirty="0" smtClean="0"/>
            <a:t>Za projekte koji imaju potpisane Ugovore o otkupu </a:t>
          </a:r>
          <a:r>
            <a:rPr lang="hr-HR" sz="1300" dirty="0" err="1" smtClean="0"/>
            <a:t>ele</a:t>
          </a:r>
          <a:r>
            <a:rPr lang="hr-HR" sz="1300" dirty="0" smtClean="0"/>
            <a:t>. energije ukinuti odredbe ograničenja Kvote</a:t>
          </a:r>
          <a:endParaRPr lang="hr-HR" sz="1300" dirty="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 sz="1300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 sz="1300"/>
        </a:p>
      </dgm:t>
    </dgm:pt>
    <dgm:pt modelId="{ECECD6FB-70AB-45BB-8AC2-9088DD6D8B88}">
      <dgm:prSet custT="1"/>
      <dgm:spPr/>
      <dgm:t>
        <a:bodyPr/>
        <a:lstStyle/>
        <a:p>
          <a:pPr algn="l"/>
          <a:r>
            <a:rPr lang="hr-HR" sz="1300" dirty="0" smtClean="0"/>
            <a:t>Ukinuti  odredbu o javnom natječaju za dodjelu priključka i prava građenja na državnom zemljištu.</a:t>
          </a:r>
          <a:endParaRPr lang="hr-HR" sz="1300" dirty="0"/>
        </a:p>
      </dgm:t>
    </dgm:pt>
    <dgm:pt modelId="{1935DBD8-506B-4343-952F-01D929FE0CA5}" type="parTrans" cxnId="{8EDBE940-C39B-4BEA-906E-C6B11C9AA0D8}">
      <dgm:prSet/>
      <dgm:spPr/>
      <dgm:t>
        <a:bodyPr/>
        <a:lstStyle/>
        <a:p>
          <a:endParaRPr lang="hr-HR" sz="1300"/>
        </a:p>
      </dgm:t>
    </dgm:pt>
    <dgm:pt modelId="{E5D1B1E0-1815-4985-B15E-377BD958F615}" type="sibTrans" cxnId="{8EDBE940-C39B-4BEA-906E-C6B11C9AA0D8}">
      <dgm:prSet/>
      <dgm:spPr/>
      <dgm:t>
        <a:bodyPr/>
        <a:lstStyle/>
        <a:p>
          <a:endParaRPr lang="hr-HR" sz="1300"/>
        </a:p>
      </dgm:t>
    </dgm:pt>
    <dgm:pt modelId="{2FF8EFCD-CE07-405C-96B8-A14FA51A56E3}">
      <dgm:prSet custT="1"/>
      <dgm:spPr/>
      <dgm:t>
        <a:bodyPr/>
        <a:lstStyle/>
        <a:p>
          <a:r>
            <a:rPr lang="hr-HR" sz="1300" dirty="0" smtClean="0"/>
            <a:t>Uvesti promjene u administrativnu proceduru stjecanja statusa povlaštenog proizvođača u smislu smanjenja broja uključenih institucija na minimum. </a:t>
          </a:r>
          <a:endParaRPr lang="hr-HR" sz="1300" dirty="0"/>
        </a:p>
      </dgm:t>
    </dgm:pt>
    <dgm:pt modelId="{4EB69AC8-3EAE-4C44-9183-4A798E34F23C}" type="parTrans" cxnId="{960C6480-774E-4934-A8B1-DBFD344D3C75}">
      <dgm:prSet/>
      <dgm:spPr/>
      <dgm:t>
        <a:bodyPr/>
        <a:lstStyle/>
        <a:p>
          <a:endParaRPr lang="hr-HR" sz="1300"/>
        </a:p>
      </dgm:t>
    </dgm:pt>
    <dgm:pt modelId="{0DC49F90-4E19-43FC-891C-AA95F5F5B166}" type="sibTrans" cxnId="{960C6480-774E-4934-A8B1-DBFD344D3C75}">
      <dgm:prSet/>
      <dgm:spPr/>
      <dgm:t>
        <a:bodyPr/>
        <a:lstStyle/>
        <a:p>
          <a:endParaRPr lang="hr-HR" sz="1300"/>
        </a:p>
      </dgm:t>
    </dgm:pt>
    <dgm:pt modelId="{FB6B3482-83E2-428D-A6B0-25E21C75F1AC}">
      <dgm:prSet custT="1"/>
      <dgm:spPr/>
      <dgm:t>
        <a:bodyPr/>
        <a:lstStyle/>
        <a:p>
          <a:r>
            <a:rPr lang="hr-HR" sz="1300" dirty="0" smtClean="0"/>
            <a:t>Dovršiti, usvojiti i primijeniti Zakon o obnovljivim izvorima energije, </a:t>
          </a:r>
          <a:endParaRPr lang="hr-HR" sz="1300" dirty="0"/>
        </a:p>
      </dgm:t>
    </dgm:pt>
    <dgm:pt modelId="{93D86A22-0C5F-4025-8FD4-0B5008C78643}" type="parTrans" cxnId="{20EF98FF-7FAE-4920-B3A0-10D8D1B96796}">
      <dgm:prSet/>
      <dgm:spPr/>
      <dgm:t>
        <a:bodyPr/>
        <a:lstStyle/>
        <a:p>
          <a:endParaRPr lang="hr-HR" sz="1300"/>
        </a:p>
      </dgm:t>
    </dgm:pt>
    <dgm:pt modelId="{A400734C-AA41-4425-96ED-60C75E578F9A}" type="sibTrans" cxnId="{20EF98FF-7FAE-4920-B3A0-10D8D1B96796}">
      <dgm:prSet/>
      <dgm:spPr/>
      <dgm:t>
        <a:bodyPr/>
        <a:lstStyle/>
        <a:p>
          <a:endParaRPr lang="hr-HR" sz="1300"/>
        </a:p>
      </dgm:t>
    </dgm:pt>
    <dgm:pt modelId="{40F567F9-D463-40D9-A5BC-B189C327B1D6}">
      <dgm:prSet custT="1"/>
      <dgm:spPr/>
      <dgm:t>
        <a:bodyPr/>
        <a:lstStyle/>
        <a:p>
          <a:r>
            <a:rPr lang="hr-HR" sz="1300" dirty="0" smtClean="0"/>
            <a:t>U području zaštite okoliša donijeti jasne i nedvosmislene kriterije za uvrštavanje lokacija  OIE u prostorne planove</a:t>
          </a:r>
          <a:endParaRPr lang="hr-HR" sz="1300" dirty="0"/>
        </a:p>
      </dgm:t>
    </dgm:pt>
    <dgm:pt modelId="{A79B801D-BAAC-4C8C-B978-800DDF4158AD}" type="parTrans" cxnId="{71931110-AD41-4F92-A845-06BC2D8D3AB6}">
      <dgm:prSet/>
      <dgm:spPr/>
      <dgm:t>
        <a:bodyPr/>
        <a:lstStyle/>
        <a:p>
          <a:endParaRPr lang="hr-HR" sz="1300"/>
        </a:p>
      </dgm:t>
    </dgm:pt>
    <dgm:pt modelId="{079C9DC5-2278-455D-9446-6E2C2A4B4F0C}" type="sibTrans" cxnId="{71931110-AD41-4F92-A845-06BC2D8D3AB6}">
      <dgm:prSet/>
      <dgm:spPr/>
      <dgm:t>
        <a:bodyPr/>
        <a:lstStyle/>
        <a:p>
          <a:endParaRPr lang="hr-HR" sz="1300"/>
        </a:p>
      </dgm:t>
    </dgm:pt>
    <dgm:pt modelId="{CE61CA1E-989C-4032-8436-2AA3294856C3}">
      <dgm:prSet custT="1"/>
      <dgm:spPr/>
      <dgm:t>
        <a:bodyPr/>
        <a:lstStyle/>
        <a:p>
          <a:r>
            <a:rPr lang="hr-HR" sz="1300" dirty="0" smtClean="0"/>
            <a:t>Usvojiti Metodologiju za izračun referentnih troškova proizvodnje energije iz </a:t>
          </a:r>
          <a:r>
            <a:rPr lang="hr-HR" sz="1300" dirty="0" err="1" smtClean="0"/>
            <a:t>OiE</a:t>
          </a:r>
          <a:r>
            <a:rPr lang="hr-HR" sz="1300" dirty="0" smtClean="0"/>
            <a:t> i kogeneracije (Metodologija)</a:t>
          </a:r>
          <a:endParaRPr lang="hr-HR" sz="1300" dirty="0"/>
        </a:p>
      </dgm:t>
    </dgm:pt>
    <dgm:pt modelId="{86129525-4787-4AC4-83AE-F073085255A2}" type="parTrans" cxnId="{CEC90545-8FC3-4CD7-9CD0-66D0B6672358}">
      <dgm:prSet/>
      <dgm:spPr/>
      <dgm:t>
        <a:bodyPr/>
        <a:lstStyle/>
        <a:p>
          <a:endParaRPr lang="hr-HR" sz="1300"/>
        </a:p>
      </dgm:t>
    </dgm:pt>
    <dgm:pt modelId="{AF48E78F-A53C-40CF-9CD5-FC684260AC44}" type="sibTrans" cxnId="{CEC90545-8FC3-4CD7-9CD0-66D0B6672358}">
      <dgm:prSet/>
      <dgm:spPr/>
      <dgm:t>
        <a:bodyPr/>
        <a:lstStyle/>
        <a:p>
          <a:endParaRPr lang="hr-HR" sz="1300"/>
        </a:p>
      </dgm:t>
    </dgm:pt>
    <dgm:pt modelId="{E568C346-1BEE-494C-9D4D-C663BACE38BF}">
      <dgm:prSet custT="1"/>
      <dgm:spPr/>
      <dgm:t>
        <a:bodyPr/>
        <a:lstStyle/>
        <a:p>
          <a:r>
            <a:rPr lang="hr-HR" sz="1300" dirty="0" smtClean="0"/>
            <a:t>Usvojiti Program državnih potpora za proizvodnju električne energije iz </a:t>
          </a:r>
          <a:r>
            <a:rPr lang="hr-HR" sz="1300" dirty="0" err="1" smtClean="0"/>
            <a:t>OiE</a:t>
          </a:r>
          <a:r>
            <a:rPr lang="hr-HR" sz="1300" dirty="0" smtClean="0"/>
            <a:t> i kogeneracije (Program)</a:t>
          </a:r>
          <a:endParaRPr lang="hr-HR" sz="1300" dirty="0"/>
        </a:p>
      </dgm:t>
    </dgm:pt>
    <dgm:pt modelId="{5F139BED-4D15-4B38-9FD8-A129DB9EE466}" type="parTrans" cxnId="{4710B183-AF87-45C9-B514-31109A7FA940}">
      <dgm:prSet/>
      <dgm:spPr/>
      <dgm:t>
        <a:bodyPr/>
        <a:lstStyle/>
        <a:p>
          <a:endParaRPr lang="hr-HR" sz="1300"/>
        </a:p>
      </dgm:t>
    </dgm:pt>
    <dgm:pt modelId="{AD03BC9D-1DF2-4C7E-84EC-AB2525D123C3}" type="sibTrans" cxnId="{4710B183-AF87-45C9-B514-31109A7FA940}">
      <dgm:prSet/>
      <dgm:spPr/>
      <dgm:t>
        <a:bodyPr/>
        <a:lstStyle/>
        <a:p>
          <a:endParaRPr lang="hr-HR" sz="1300"/>
        </a:p>
      </dgm:t>
    </dgm:pt>
    <dgm:pt modelId="{E4D101CE-287D-4E3B-BEE7-2BB03DCFAFAC}">
      <dgm:prSet custT="1"/>
      <dgm:spPr/>
      <dgm:t>
        <a:bodyPr/>
        <a:lstStyle/>
        <a:p>
          <a:r>
            <a:rPr lang="hr-HR" sz="1300" dirty="0" smtClean="0"/>
            <a:t>Revidirati tarifni sustav (</a:t>
          </a:r>
          <a:r>
            <a:rPr lang="hr-HR" sz="1300" dirty="0" err="1" smtClean="0"/>
            <a:t>dvo</a:t>
          </a:r>
          <a:r>
            <a:rPr lang="hr-HR" sz="1300" dirty="0" smtClean="0"/>
            <a:t>- ili više-</a:t>
          </a:r>
          <a:r>
            <a:rPr lang="hr-HR" sz="1300" dirty="0" err="1" smtClean="0"/>
            <a:t>tarfini</a:t>
          </a:r>
          <a:r>
            <a:rPr lang="hr-HR" sz="1300" dirty="0" smtClean="0"/>
            <a:t> sustav) i uskladiti sa Metodologijom i Programom  za pojedini vid izvora </a:t>
          </a:r>
          <a:r>
            <a:rPr lang="hr-HR" sz="1300" dirty="0" err="1" smtClean="0"/>
            <a:t>OiE</a:t>
          </a:r>
          <a:r>
            <a:rPr lang="hr-HR" sz="1300" dirty="0" smtClean="0"/>
            <a:t>, a ujedno spriječiti stvaranje ekstra profita iz javnog novca.</a:t>
          </a:r>
          <a:endParaRPr lang="hr-HR" sz="1300" dirty="0"/>
        </a:p>
      </dgm:t>
    </dgm:pt>
    <dgm:pt modelId="{7F66F8D9-B05D-44B0-8B88-4B7EB89D81EF}" type="parTrans" cxnId="{642866EC-0F65-4713-8624-C2A6E3B1BB1D}">
      <dgm:prSet/>
      <dgm:spPr/>
      <dgm:t>
        <a:bodyPr/>
        <a:lstStyle/>
        <a:p>
          <a:endParaRPr lang="hr-HR" sz="1300"/>
        </a:p>
      </dgm:t>
    </dgm:pt>
    <dgm:pt modelId="{65E22F40-6977-49EF-AD64-78DACEAC25E6}" type="sibTrans" cxnId="{642866EC-0F65-4713-8624-C2A6E3B1BB1D}">
      <dgm:prSet/>
      <dgm:spPr/>
      <dgm:t>
        <a:bodyPr/>
        <a:lstStyle/>
        <a:p>
          <a:endParaRPr lang="hr-HR" sz="1300"/>
        </a:p>
      </dgm:t>
    </dgm:pt>
    <dgm:pt modelId="{21CF1909-85A7-4C78-87D4-07371A16C749}">
      <dgm:prSet custT="1"/>
      <dgm:spPr/>
      <dgm:t>
        <a:bodyPr/>
        <a:lstStyle/>
        <a:p>
          <a:r>
            <a:rPr lang="hr-HR" sz="1300" dirty="0" smtClean="0"/>
            <a:t>Revidirati projekte i osigurati transparentnost izdavanja dozvola.</a:t>
          </a:r>
          <a:endParaRPr lang="hr-HR" sz="1300" dirty="0"/>
        </a:p>
      </dgm:t>
    </dgm:pt>
    <dgm:pt modelId="{428BC7E6-4C6B-4984-97DB-6CFB430714F5}" type="parTrans" cxnId="{729DF0F2-5A55-4F85-B9BF-DD9A3F3FE6BD}">
      <dgm:prSet/>
      <dgm:spPr/>
      <dgm:t>
        <a:bodyPr/>
        <a:lstStyle/>
        <a:p>
          <a:endParaRPr lang="hr-HR" sz="1300"/>
        </a:p>
      </dgm:t>
    </dgm:pt>
    <dgm:pt modelId="{7F620071-EACD-4E08-8D0C-90B1422EB383}" type="sibTrans" cxnId="{729DF0F2-5A55-4F85-B9BF-DD9A3F3FE6BD}">
      <dgm:prSet/>
      <dgm:spPr/>
      <dgm:t>
        <a:bodyPr/>
        <a:lstStyle/>
        <a:p>
          <a:endParaRPr lang="hr-HR" sz="1300"/>
        </a:p>
      </dgm:t>
    </dgm:pt>
    <dgm:pt modelId="{842710E8-F8A5-4FDC-B0E0-ECA2B2EBDB42}">
      <dgm:prSet custT="1"/>
      <dgm:spPr/>
      <dgm:t>
        <a:bodyPr/>
        <a:lstStyle/>
        <a:p>
          <a:pPr algn="l"/>
          <a:r>
            <a:rPr lang="hr-HR" sz="1300" dirty="0" smtClean="0"/>
            <a:t>Dovršiti i korigirati Nacionalni akcijski plan za </a:t>
          </a:r>
          <a:r>
            <a:rPr lang="hr-HR" sz="1300" dirty="0" err="1" smtClean="0"/>
            <a:t>OiE</a:t>
          </a:r>
          <a:r>
            <a:rPr lang="hr-HR" sz="1300" dirty="0" smtClean="0"/>
            <a:t> te ga uskladiti sa zahtjevima Strategije energetskog razvoja, a paralelno raditi na izmjeni Strategije </a:t>
          </a:r>
          <a:endParaRPr lang="hr-HR" sz="1300" dirty="0"/>
        </a:p>
      </dgm:t>
    </dgm:pt>
    <dgm:pt modelId="{A0236E13-7C8B-4135-AC4D-BBCAF524DA06}" type="parTrans" cxnId="{758606E1-FED6-483E-96EE-4C285AFBF846}">
      <dgm:prSet/>
      <dgm:spPr/>
      <dgm:t>
        <a:bodyPr/>
        <a:lstStyle/>
        <a:p>
          <a:endParaRPr lang="hr-HR" sz="1300"/>
        </a:p>
      </dgm:t>
    </dgm:pt>
    <dgm:pt modelId="{BB77477E-F4C4-4FFC-83C4-580263B8C022}" type="sibTrans" cxnId="{758606E1-FED6-483E-96EE-4C285AFBF846}">
      <dgm:prSet/>
      <dgm:spPr/>
      <dgm:t>
        <a:bodyPr/>
        <a:lstStyle/>
        <a:p>
          <a:endParaRPr lang="hr-HR" sz="1300"/>
        </a:p>
      </dgm:t>
    </dgm:pt>
    <dgm:pt modelId="{D5A896F1-9D5D-45DB-AE9A-E5FA8DD1954A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71842772-40DC-42F5-9C6A-7F30A0C9C754}" type="pres">
      <dgm:prSet presAssocID="{F81860E6-71FF-4C5A-8B6F-00D5343A9FBF}" presName="thickLine" presStyleLbl="alignNode1" presStyleIdx="0" presStyleCnt="1" custLinFactNeighborY="238"/>
      <dgm:spPr/>
    </dgm:pt>
    <dgm:pt modelId="{FE66E09F-02B8-4E33-AA9A-D5AFEB68F61F}" type="pres">
      <dgm:prSet presAssocID="{F81860E6-71FF-4C5A-8B6F-00D5343A9FBF}" presName="horz1" presStyleCnt="0"/>
      <dgm:spPr/>
    </dgm:pt>
    <dgm:pt modelId="{D54C637A-6658-4F0D-A80A-F87327424D5F}" type="pres">
      <dgm:prSet presAssocID="{F81860E6-71FF-4C5A-8B6F-00D5343A9FBF}" presName="tx1" presStyleLbl="revTx" presStyleIdx="0" presStyleCnt="11"/>
      <dgm:spPr/>
      <dgm:t>
        <a:bodyPr/>
        <a:lstStyle/>
        <a:p>
          <a:endParaRPr lang="hr-HR"/>
        </a:p>
      </dgm:t>
    </dgm:pt>
    <dgm:pt modelId="{262C1D48-6933-4AB3-93B5-4763AB017F2E}" type="pres">
      <dgm:prSet presAssocID="{F81860E6-71FF-4C5A-8B6F-00D5343A9FBF}" presName="vert1" presStyleCnt="0"/>
      <dgm:spPr/>
    </dgm:pt>
    <dgm:pt modelId="{8D317164-1EEE-49F7-9726-8DF5D2F97968}" type="pres">
      <dgm:prSet presAssocID="{A0682142-CCC4-431E-9CAE-F34F449F517C}" presName="vertSpace2a" presStyleCnt="0"/>
      <dgm:spPr/>
    </dgm:pt>
    <dgm:pt modelId="{4FA6883A-7189-4C22-B8FB-BC5071E51B21}" type="pres">
      <dgm:prSet presAssocID="{A0682142-CCC4-431E-9CAE-F34F449F517C}" presName="horz2" presStyleCnt="0"/>
      <dgm:spPr/>
    </dgm:pt>
    <dgm:pt modelId="{6E0D1820-7C7C-4563-9860-3EE7FFAEF385}" type="pres">
      <dgm:prSet presAssocID="{A0682142-CCC4-431E-9CAE-F34F449F517C}" presName="horzSpace2" presStyleCnt="0"/>
      <dgm:spPr/>
    </dgm:pt>
    <dgm:pt modelId="{EB59EBFC-AC35-4A91-AE5A-2DBDF06B1B3D}" type="pres">
      <dgm:prSet presAssocID="{A0682142-CCC4-431E-9CAE-F34F449F517C}" presName="tx2" presStyleLbl="revTx" presStyleIdx="1" presStyleCnt="11" custScaleY="39468"/>
      <dgm:spPr/>
      <dgm:t>
        <a:bodyPr/>
        <a:lstStyle/>
        <a:p>
          <a:endParaRPr lang="hr-HR"/>
        </a:p>
      </dgm:t>
    </dgm:pt>
    <dgm:pt modelId="{87B0C50D-44A0-4FDF-AECF-3BD2BD9D8C56}" type="pres">
      <dgm:prSet presAssocID="{A0682142-CCC4-431E-9CAE-F34F449F517C}" presName="vert2" presStyleCnt="0"/>
      <dgm:spPr/>
    </dgm:pt>
    <dgm:pt modelId="{E16606CE-0031-4905-B4BF-EA792DCA67E4}" type="pres">
      <dgm:prSet presAssocID="{A0682142-CCC4-431E-9CAE-F34F449F517C}" presName="thinLine2b" presStyleLbl="callout" presStyleIdx="0" presStyleCnt="10"/>
      <dgm:spPr/>
    </dgm:pt>
    <dgm:pt modelId="{03EF4AAE-5B24-4A31-8026-5A004837AAF2}" type="pres">
      <dgm:prSet presAssocID="{A0682142-CCC4-431E-9CAE-F34F449F517C}" presName="vertSpace2b" presStyleCnt="0"/>
      <dgm:spPr/>
    </dgm:pt>
    <dgm:pt modelId="{9D2EB9C5-EC65-45C7-8EB0-FB67147A3A42}" type="pres">
      <dgm:prSet presAssocID="{2FF8EFCD-CE07-405C-96B8-A14FA51A56E3}" presName="horz2" presStyleCnt="0"/>
      <dgm:spPr/>
    </dgm:pt>
    <dgm:pt modelId="{7F39C32B-4C15-4617-AD2D-90304C50AD46}" type="pres">
      <dgm:prSet presAssocID="{2FF8EFCD-CE07-405C-96B8-A14FA51A56E3}" presName="horzSpace2" presStyleCnt="0"/>
      <dgm:spPr/>
    </dgm:pt>
    <dgm:pt modelId="{F64F2722-3F31-46FA-82B5-CC680D70D5E8}" type="pres">
      <dgm:prSet presAssocID="{2FF8EFCD-CE07-405C-96B8-A14FA51A56E3}" presName="tx2" presStyleLbl="revTx" presStyleIdx="2" presStyleCnt="11" custScaleY="60606"/>
      <dgm:spPr/>
      <dgm:t>
        <a:bodyPr/>
        <a:lstStyle/>
        <a:p>
          <a:endParaRPr lang="hr-HR"/>
        </a:p>
      </dgm:t>
    </dgm:pt>
    <dgm:pt modelId="{BF103640-E5A5-46EC-A042-326B8CF1382A}" type="pres">
      <dgm:prSet presAssocID="{2FF8EFCD-CE07-405C-96B8-A14FA51A56E3}" presName="vert2" presStyleCnt="0"/>
      <dgm:spPr/>
    </dgm:pt>
    <dgm:pt modelId="{8164E51D-D9DC-4FCD-BBF4-C8195D7C507B}" type="pres">
      <dgm:prSet presAssocID="{2FF8EFCD-CE07-405C-96B8-A14FA51A56E3}" presName="thinLine2b" presStyleLbl="callout" presStyleIdx="1" presStyleCnt="10" custLinFactY="5793" custLinFactNeighborX="0" custLinFactNeighborY="100000"/>
      <dgm:spPr/>
    </dgm:pt>
    <dgm:pt modelId="{39C554DA-AC88-4E60-8137-A97B32117F88}" type="pres">
      <dgm:prSet presAssocID="{2FF8EFCD-CE07-405C-96B8-A14FA51A56E3}" presName="vertSpace2b" presStyleCnt="0"/>
      <dgm:spPr/>
    </dgm:pt>
    <dgm:pt modelId="{31FF61E1-2522-45A8-89A3-470FB6578513}" type="pres">
      <dgm:prSet presAssocID="{FB6B3482-83E2-428D-A6B0-25E21C75F1AC}" presName="horz2" presStyleCnt="0"/>
      <dgm:spPr/>
    </dgm:pt>
    <dgm:pt modelId="{66A94508-BB56-4B2B-B5B1-E02016BDD630}" type="pres">
      <dgm:prSet presAssocID="{FB6B3482-83E2-428D-A6B0-25E21C75F1AC}" presName="horzSpace2" presStyleCnt="0"/>
      <dgm:spPr/>
    </dgm:pt>
    <dgm:pt modelId="{7074DAC7-B532-48FE-AC5C-1277069ED52B}" type="pres">
      <dgm:prSet presAssocID="{FB6B3482-83E2-428D-A6B0-25E21C75F1AC}" presName="tx2" presStyleLbl="revTx" presStyleIdx="3" presStyleCnt="11" custScaleY="36504"/>
      <dgm:spPr/>
      <dgm:t>
        <a:bodyPr/>
        <a:lstStyle/>
        <a:p>
          <a:endParaRPr lang="hr-HR"/>
        </a:p>
      </dgm:t>
    </dgm:pt>
    <dgm:pt modelId="{4F7B2453-B3D9-44EE-BB4A-B5ECA2C15981}" type="pres">
      <dgm:prSet presAssocID="{FB6B3482-83E2-428D-A6B0-25E21C75F1AC}" presName="vert2" presStyleCnt="0"/>
      <dgm:spPr/>
    </dgm:pt>
    <dgm:pt modelId="{6F543459-C8E2-47C8-AA25-4CE1E6255451}" type="pres">
      <dgm:prSet presAssocID="{FB6B3482-83E2-428D-A6B0-25E21C75F1AC}" presName="thinLine2b" presStyleLbl="callout" presStyleIdx="2" presStyleCnt="10"/>
      <dgm:spPr/>
    </dgm:pt>
    <dgm:pt modelId="{8D1F511A-26F8-4EC4-98F2-6A1BB5341C0E}" type="pres">
      <dgm:prSet presAssocID="{FB6B3482-83E2-428D-A6B0-25E21C75F1AC}" presName="vertSpace2b" presStyleCnt="0"/>
      <dgm:spPr/>
    </dgm:pt>
    <dgm:pt modelId="{50EE042E-404B-43B8-83EC-FD367A52EB0B}" type="pres">
      <dgm:prSet presAssocID="{40F567F9-D463-40D9-A5BC-B189C327B1D6}" presName="horz2" presStyleCnt="0"/>
      <dgm:spPr/>
    </dgm:pt>
    <dgm:pt modelId="{66ECE46A-2AA0-4CA9-A909-2C5C2FF24E65}" type="pres">
      <dgm:prSet presAssocID="{40F567F9-D463-40D9-A5BC-B189C327B1D6}" presName="horzSpace2" presStyleCnt="0"/>
      <dgm:spPr/>
    </dgm:pt>
    <dgm:pt modelId="{CC7BE0CE-9F3B-4058-AD47-B9A066B5DEA1}" type="pres">
      <dgm:prSet presAssocID="{40F567F9-D463-40D9-A5BC-B189C327B1D6}" presName="tx2" presStyleLbl="revTx" presStyleIdx="4" presStyleCnt="11" custScaleY="64709"/>
      <dgm:spPr/>
      <dgm:t>
        <a:bodyPr/>
        <a:lstStyle/>
        <a:p>
          <a:endParaRPr lang="hr-HR"/>
        </a:p>
      </dgm:t>
    </dgm:pt>
    <dgm:pt modelId="{64E1B93A-3031-495E-9487-EE8B3B3D4A5A}" type="pres">
      <dgm:prSet presAssocID="{40F567F9-D463-40D9-A5BC-B189C327B1D6}" presName="vert2" presStyleCnt="0"/>
      <dgm:spPr/>
    </dgm:pt>
    <dgm:pt modelId="{2E1BC2D6-D488-4DB7-AE6A-DB4697B9B0E5}" type="pres">
      <dgm:prSet presAssocID="{40F567F9-D463-40D9-A5BC-B189C327B1D6}" presName="thinLine2b" presStyleLbl="callout" presStyleIdx="3" presStyleCnt="10"/>
      <dgm:spPr/>
    </dgm:pt>
    <dgm:pt modelId="{6E9633F0-B293-4362-9123-1CF8EF68E360}" type="pres">
      <dgm:prSet presAssocID="{40F567F9-D463-40D9-A5BC-B189C327B1D6}" presName="vertSpace2b" presStyleCnt="0"/>
      <dgm:spPr/>
    </dgm:pt>
    <dgm:pt modelId="{60C4C1B8-92CA-480E-8CDC-7AE29ED8B08F}" type="pres">
      <dgm:prSet presAssocID="{ECECD6FB-70AB-45BB-8AC2-9088DD6D8B88}" presName="horz2" presStyleCnt="0"/>
      <dgm:spPr/>
    </dgm:pt>
    <dgm:pt modelId="{6032F9EF-DE5A-422C-9157-1BBCC927D0C9}" type="pres">
      <dgm:prSet presAssocID="{ECECD6FB-70AB-45BB-8AC2-9088DD6D8B88}" presName="horzSpace2" presStyleCnt="0"/>
      <dgm:spPr/>
    </dgm:pt>
    <dgm:pt modelId="{14C0C664-330F-42BD-AA48-057880D1F0F8}" type="pres">
      <dgm:prSet presAssocID="{ECECD6FB-70AB-45BB-8AC2-9088DD6D8B88}" presName="tx2" presStyleLbl="revTx" presStyleIdx="5" presStyleCnt="11" custScaleY="43250"/>
      <dgm:spPr/>
      <dgm:t>
        <a:bodyPr/>
        <a:lstStyle/>
        <a:p>
          <a:endParaRPr lang="hr-HR"/>
        </a:p>
      </dgm:t>
    </dgm:pt>
    <dgm:pt modelId="{99B46EA9-F877-4751-AE4B-09C2BC8990B7}" type="pres">
      <dgm:prSet presAssocID="{ECECD6FB-70AB-45BB-8AC2-9088DD6D8B88}" presName="vert2" presStyleCnt="0"/>
      <dgm:spPr/>
    </dgm:pt>
    <dgm:pt modelId="{84F6543A-09E3-4D22-BB7F-ECA903320EA2}" type="pres">
      <dgm:prSet presAssocID="{ECECD6FB-70AB-45BB-8AC2-9088DD6D8B88}" presName="thinLine2b" presStyleLbl="callout" presStyleIdx="4" presStyleCnt="10" custLinFactY="16995" custLinFactNeighborX="0" custLinFactNeighborY="100000"/>
      <dgm:spPr/>
    </dgm:pt>
    <dgm:pt modelId="{8D039C9C-99D2-41DE-B838-04C995DD62C1}" type="pres">
      <dgm:prSet presAssocID="{ECECD6FB-70AB-45BB-8AC2-9088DD6D8B88}" presName="vertSpace2b" presStyleCnt="0"/>
      <dgm:spPr/>
    </dgm:pt>
    <dgm:pt modelId="{96188122-5628-407F-BF07-D520BDB3F6DE}" type="pres">
      <dgm:prSet presAssocID="{842710E8-F8A5-4FDC-B0E0-ECA2B2EBDB42}" presName="horz2" presStyleCnt="0"/>
      <dgm:spPr/>
    </dgm:pt>
    <dgm:pt modelId="{06C47C31-0900-4D61-9263-65AC03B7C2D0}" type="pres">
      <dgm:prSet presAssocID="{842710E8-F8A5-4FDC-B0E0-ECA2B2EBDB42}" presName="horzSpace2" presStyleCnt="0"/>
      <dgm:spPr/>
    </dgm:pt>
    <dgm:pt modelId="{542D0706-9D94-426D-B4D8-E8472C40EBEE}" type="pres">
      <dgm:prSet presAssocID="{842710E8-F8A5-4FDC-B0E0-ECA2B2EBDB42}" presName="tx2" presStyleLbl="revTx" presStyleIdx="6" presStyleCnt="11" custScaleY="52471"/>
      <dgm:spPr/>
      <dgm:t>
        <a:bodyPr/>
        <a:lstStyle/>
        <a:p>
          <a:endParaRPr lang="hr-HR"/>
        </a:p>
      </dgm:t>
    </dgm:pt>
    <dgm:pt modelId="{016721B8-78BE-42A8-85CC-607D997BCE1C}" type="pres">
      <dgm:prSet presAssocID="{842710E8-F8A5-4FDC-B0E0-ECA2B2EBDB42}" presName="vert2" presStyleCnt="0"/>
      <dgm:spPr/>
    </dgm:pt>
    <dgm:pt modelId="{449136F5-0443-4772-ABC6-28A9F1C05D6C}" type="pres">
      <dgm:prSet presAssocID="{842710E8-F8A5-4FDC-B0E0-ECA2B2EBDB42}" presName="thinLine2b" presStyleLbl="callout" presStyleIdx="5" presStyleCnt="10" custLinFactY="45217" custLinFactNeighborX="0" custLinFactNeighborY="100000"/>
      <dgm:spPr/>
    </dgm:pt>
    <dgm:pt modelId="{CA137213-0EC4-4211-A7DD-21DC30B4F0CB}" type="pres">
      <dgm:prSet presAssocID="{842710E8-F8A5-4FDC-B0E0-ECA2B2EBDB42}" presName="vertSpace2b" presStyleCnt="0"/>
      <dgm:spPr/>
    </dgm:pt>
    <dgm:pt modelId="{DD661A51-AC8B-40FA-93BC-9DF27BA611A2}" type="pres">
      <dgm:prSet presAssocID="{CE61CA1E-989C-4032-8436-2AA3294856C3}" presName="horz2" presStyleCnt="0"/>
      <dgm:spPr/>
    </dgm:pt>
    <dgm:pt modelId="{F71C1E3B-290D-4C1E-A908-F2E5E0408BD7}" type="pres">
      <dgm:prSet presAssocID="{CE61CA1E-989C-4032-8436-2AA3294856C3}" presName="horzSpace2" presStyleCnt="0"/>
      <dgm:spPr/>
    </dgm:pt>
    <dgm:pt modelId="{5961FAAF-4B68-4454-97C2-BE153BD5DAF3}" type="pres">
      <dgm:prSet presAssocID="{CE61CA1E-989C-4032-8436-2AA3294856C3}" presName="tx2" presStyleLbl="revTx" presStyleIdx="7" presStyleCnt="11" custScaleY="61203"/>
      <dgm:spPr/>
      <dgm:t>
        <a:bodyPr/>
        <a:lstStyle/>
        <a:p>
          <a:endParaRPr lang="hr-HR"/>
        </a:p>
      </dgm:t>
    </dgm:pt>
    <dgm:pt modelId="{DCB33EDF-EB2E-4833-B21D-0D5B2D9F4FC7}" type="pres">
      <dgm:prSet presAssocID="{CE61CA1E-989C-4032-8436-2AA3294856C3}" presName="vert2" presStyleCnt="0"/>
      <dgm:spPr/>
    </dgm:pt>
    <dgm:pt modelId="{004C6427-5EDF-4A5B-8C2F-04706423A89A}" type="pres">
      <dgm:prSet presAssocID="{CE61CA1E-989C-4032-8436-2AA3294856C3}" presName="thinLine2b" presStyleLbl="callout" presStyleIdx="6" presStyleCnt="10"/>
      <dgm:spPr/>
    </dgm:pt>
    <dgm:pt modelId="{F510826A-66A3-47F7-A649-BA8A8FBEB955}" type="pres">
      <dgm:prSet presAssocID="{CE61CA1E-989C-4032-8436-2AA3294856C3}" presName="vertSpace2b" presStyleCnt="0"/>
      <dgm:spPr/>
    </dgm:pt>
    <dgm:pt modelId="{D7988C78-8650-47DD-82C2-3F84E131870B}" type="pres">
      <dgm:prSet presAssocID="{E568C346-1BEE-494C-9D4D-C663BACE38BF}" presName="horz2" presStyleCnt="0"/>
      <dgm:spPr/>
    </dgm:pt>
    <dgm:pt modelId="{F1EB1D1F-5292-404E-A9BA-2954B05BD7C3}" type="pres">
      <dgm:prSet presAssocID="{E568C346-1BEE-494C-9D4D-C663BACE38BF}" presName="horzSpace2" presStyleCnt="0"/>
      <dgm:spPr/>
    </dgm:pt>
    <dgm:pt modelId="{0143C9EC-2AED-4ECB-8740-0BAED8980666}" type="pres">
      <dgm:prSet presAssocID="{E568C346-1BEE-494C-9D4D-C663BACE38BF}" presName="tx2" presStyleLbl="revTx" presStyleIdx="8" presStyleCnt="11" custScaleY="54914"/>
      <dgm:spPr/>
      <dgm:t>
        <a:bodyPr/>
        <a:lstStyle/>
        <a:p>
          <a:endParaRPr lang="hr-HR"/>
        </a:p>
      </dgm:t>
    </dgm:pt>
    <dgm:pt modelId="{7DE518CC-ED0A-4DFD-A017-2D5E3C0CB179}" type="pres">
      <dgm:prSet presAssocID="{E568C346-1BEE-494C-9D4D-C663BACE38BF}" presName="vert2" presStyleCnt="0"/>
      <dgm:spPr/>
    </dgm:pt>
    <dgm:pt modelId="{821116B9-2534-4293-94E5-5E0D881AC319}" type="pres">
      <dgm:prSet presAssocID="{E568C346-1BEE-494C-9D4D-C663BACE38BF}" presName="thinLine2b" presStyleLbl="callout" presStyleIdx="7" presStyleCnt="10"/>
      <dgm:spPr/>
    </dgm:pt>
    <dgm:pt modelId="{DBC1B8E0-4334-489A-9B2B-7A574F51121B}" type="pres">
      <dgm:prSet presAssocID="{E568C346-1BEE-494C-9D4D-C663BACE38BF}" presName="vertSpace2b" presStyleCnt="0"/>
      <dgm:spPr/>
    </dgm:pt>
    <dgm:pt modelId="{7DF8EB81-BED7-4695-976B-E2E9DE9C1F1B}" type="pres">
      <dgm:prSet presAssocID="{E4D101CE-287D-4E3B-BEE7-2BB03DCFAFAC}" presName="horz2" presStyleCnt="0"/>
      <dgm:spPr/>
    </dgm:pt>
    <dgm:pt modelId="{06C04D1D-51C7-4109-A1B0-F5892FE0B96E}" type="pres">
      <dgm:prSet presAssocID="{E4D101CE-287D-4E3B-BEE7-2BB03DCFAFAC}" presName="horzSpace2" presStyleCnt="0"/>
      <dgm:spPr/>
    </dgm:pt>
    <dgm:pt modelId="{8E39A21E-42B2-425C-95C1-4616C8BC4BB3}" type="pres">
      <dgm:prSet presAssocID="{E4D101CE-287D-4E3B-BEE7-2BB03DCFAFAC}" presName="tx2" presStyleLbl="revTx" presStyleIdx="9" presStyleCnt="11" custScaleY="58881"/>
      <dgm:spPr/>
      <dgm:t>
        <a:bodyPr/>
        <a:lstStyle/>
        <a:p>
          <a:endParaRPr lang="hr-HR"/>
        </a:p>
      </dgm:t>
    </dgm:pt>
    <dgm:pt modelId="{DEC79E60-6178-4440-8865-1695A54A1206}" type="pres">
      <dgm:prSet presAssocID="{E4D101CE-287D-4E3B-BEE7-2BB03DCFAFAC}" presName="vert2" presStyleCnt="0"/>
      <dgm:spPr/>
    </dgm:pt>
    <dgm:pt modelId="{1BF35C0E-D2B6-44B2-B821-775170F6688C}" type="pres">
      <dgm:prSet presAssocID="{E4D101CE-287D-4E3B-BEE7-2BB03DCFAFAC}" presName="thinLine2b" presStyleLbl="callout" presStyleIdx="8" presStyleCnt="10"/>
      <dgm:spPr/>
    </dgm:pt>
    <dgm:pt modelId="{022030E2-62C1-4F08-9DCA-F895A1580920}" type="pres">
      <dgm:prSet presAssocID="{E4D101CE-287D-4E3B-BEE7-2BB03DCFAFAC}" presName="vertSpace2b" presStyleCnt="0"/>
      <dgm:spPr/>
    </dgm:pt>
    <dgm:pt modelId="{27D5364C-276C-492C-A6EA-A6CC130E2C27}" type="pres">
      <dgm:prSet presAssocID="{21CF1909-85A7-4C78-87D4-07371A16C749}" presName="horz2" presStyleCnt="0"/>
      <dgm:spPr/>
    </dgm:pt>
    <dgm:pt modelId="{4172DDB6-10D3-4E7B-A92C-A27F39F3E598}" type="pres">
      <dgm:prSet presAssocID="{21CF1909-85A7-4C78-87D4-07371A16C749}" presName="horzSpace2" presStyleCnt="0"/>
      <dgm:spPr/>
    </dgm:pt>
    <dgm:pt modelId="{0B70BBD2-30F7-4E08-8A71-FCC2CF1D9CA8}" type="pres">
      <dgm:prSet presAssocID="{21CF1909-85A7-4C78-87D4-07371A16C749}" presName="tx2" presStyleLbl="revTx" presStyleIdx="10" presStyleCnt="11" custScaleY="51763"/>
      <dgm:spPr/>
      <dgm:t>
        <a:bodyPr/>
        <a:lstStyle/>
        <a:p>
          <a:endParaRPr lang="hr-HR"/>
        </a:p>
      </dgm:t>
    </dgm:pt>
    <dgm:pt modelId="{E3D9660D-A4AB-4429-8914-57A76F8CAEF8}" type="pres">
      <dgm:prSet presAssocID="{21CF1909-85A7-4C78-87D4-07371A16C749}" presName="vert2" presStyleCnt="0"/>
      <dgm:spPr/>
    </dgm:pt>
    <dgm:pt modelId="{CA30721E-DD46-427F-A132-6488C2A70A35}" type="pres">
      <dgm:prSet presAssocID="{21CF1909-85A7-4C78-87D4-07371A16C749}" presName="thinLine2b" presStyleLbl="callout" presStyleIdx="9" presStyleCnt="10"/>
      <dgm:spPr/>
    </dgm:pt>
    <dgm:pt modelId="{FC35F44A-112C-4686-9A46-D5B03E8EF553}" type="pres">
      <dgm:prSet presAssocID="{21CF1909-85A7-4C78-87D4-07371A16C749}" presName="vertSpace2b" presStyleCnt="0"/>
      <dgm:spPr/>
    </dgm:pt>
  </dgm:ptLst>
  <dgm:cxnLst>
    <dgm:cxn modelId="{86B53240-9BAC-419B-B9F5-E90A5675420E}" type="presOf" srcId="{FB6B3482-83E2-428D-A6B0-25E21C75F1AC}" destId="{7074DAC7-B532-48FE-AC5C-1277069ED52B}" srcOrd="0" destOrd="0" presId="urn:microsoft.com/office/officeart/2008/layout/LinedList"/>
    <dgm:cxn modelId="{D6792EAC-4DA6-4E50-8149-AEF1EA759B85}" type="presOf" srcId="{E568C346-1BEE-494C-9D4D-C663BACE38BF}" destId="{0143C9EC-2AED-4ECB-8740-0BAED8980666}" srcOrd="0" destOrd="0" presId="urn:microsoft.com/office/officeart/2008/layout/LinedList"/>
    <dgm:cxn modelId="{09FD16C5-9333-4CDE-B2DC-5C1181037876}" type="presOf" srcId="{21CF1909-85A7-4C78-87D4-07371A16C749}" destId="{0B70BBD2-30F7-4E08-8A71-FCC2CF1D9CA8}" srcOrd="0" destOrd="0" presId="urn:microsoft.com/office/officeart/2008/layout/LinedList"/>
    <dgm:cxn modelId="{5015E6A8-34E1-470E-8FCC-6BB4A6B427B0}" type="presOf" srcId="{842710E8-F8A5-4FDC-B0E0-ECA2B2EBDB42}" destId="{542D0706-9D94-426D-B4D8-E8472C40EBEE}" srcOrd="0" destOrd="0" presId="urn:microsoft.com/office/officeart/2008/layout/LinedList"/>
    <dgm:cxn modelId="{CEC90545-8FC3-4CD7-9CD0-66D0B6672358}" srcId="{F81860E6-71FF-4C5A-8B6F-00D5343A9FBF}" destId="{CE61CA1E-989C-4032-8436-2AA3294856C3}" srcOrd="6" destOrd="0" parTransId="{86129525-4787-4AC4-83AE-F073085255A2}" sibTransId="{AF48E78F-A53C-40CF-9CD5-FC684260AC44}"/>
    <dgm:cxn modelId="{758606E1-FED6-483E-96EE-4C285AFBF846}" srcId="{F81860E6-71FF-4C5A-8B6F-00D5343A9FBF}" destId="{842710E8-F8A5-4FDC-B0E0-ECA2B2EBDB42}" srcOrd="5" destOrd="0" parTransId="{A0236E13-7C8B-4135-AC4D-BBCAF524DA06}" sibTransId="{BB77477E-F4C4-4FFC-83C4-580263B8C022}"/>
    <dgm:cxn modelId="{960C6480-774E-4934-A8B1-DBFD344D3C75}" srcId="{F81860E6-71FF-4C5A-8B6F-00D5343A9FBF}" destId="{2FF8EFCD-CE07-405C-96B8-A14FA51A56E3}" srcOrd="1" destOrd="0" parTransId="{4EB69AC8-3EAE-4C44-9183-4A798E34F23C}" sibTransId="{0DC49F90-4E19-43FC-891C-AA95F5F5B166}"/>
    <dgm:cxn modelId="{71931110-AD41-4F92-A845-06BC2D8D3AB6}" srcId="{F81860E6-71FF-4C5A-8B6F-00D5343A9FBF}" destId="{40F567F9-D463-40D9-A5BC-B189C327B1D6}" srcOrd="3" destOrd="0" parTransId="{A79B801D-BAAC-4C8C-B978-800DDF4158AD}" sibTransId="{079C9DC5-2278-455D-9446-6E2C2A4B4F0C}"/>
    <dgm:cxn modelId="{65D81632-444F-4A0F-BD05-4C45625DD3C8}" type="presOf" srcId="{F81860E6-71FF-4C5A-8B6F-00D5343A9FBF}" destId="{D54C637A-6658-4F0D-A80A-F87327424D5F}" srcOrd="0" destOrd="0" presId="urn:microsoft.com/office/officeart/2008/layout/LinedList"/>
    <dgm:cxn modelId="{39B278E4-5D9B-49DF-835C-CFF2489D78DA}" type="presOf" srcId="{CE61CA1E-989C-4032-8436-2AA3294856C3}" destId="{5961FAAF-4B68-4454-97C2-BE153BD5DAF3}" srcOrd="0" destOrd="0" presId="urn:microsoft.com/office/officeart/2008/layout/LinedList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729DF0F2-5A55-4F85-B9BF-DD9A3F3FE6BD}" srcId="{F81860E6-71FF-4C5A-8B6F-00D5343A9FBF}" destId="{21CF1909-85A7-4C78-87D4-07371A16C749}" srcOrd="9" destOrd="0" parTransId="{428BC7E6-4C6B-4984-97DB-6CFB430714F5}" sibTransId="{7F620071-EACD-4E08-8D0C-90B1422EB383}"/>
    <dgm:cxn modelId="{C5741631-023A-4179-A106-51903102AD99}" type="presOf" srcId="{E4D101CE-287D-4E3B-BEE7-2BB03DCFAFAC}" destId="{8E39A21E-42B2-425C-95C1-4616C8BC4BB3}" srcOrd="0" destOrd="0" presId="urn:microsoft.com/office/officeart/2008/layout/LinedList"/>
    <dgm:cxn modelId="{4E339F46-FF2E-4DE5-9B88-DCC0AC4FDBDE}" type="presOf" srcId="{A0682142-CCC4-431E-9CAE-F34F449F517C}" destId="{EB59EBFC-AC35-4A91-AE5A-2DBDF06B1B3D}" srcOrd="0" destOrd="0" presId="urn:microsoft.com/office/officeart/2008/layout/LinedList"/>
    <dgm:cxn modelId="{11FD6510-BED5-4ED0-AC7A-4271222D502F}" type="presOf" srcId="{40F567F9-D463-40D9-A5BC-B189C327B1D6}" destId="{CC7BE0CE-9F3B-4058-AD47-B9A066B5DEA1}" srcOrd="0" destOrd="0" presId="urn:microsoft.com/office/officeart/2008/layout/LinedList"/>
    <dgm:cxn modelId="{CDDFD1C1-94BA-4720-BF35-C08874A3F7DD}" type="presOf" srcId="{EE301C1D-F021-49A2-B603-10676C1CA9CF}" destId="{D5A896F1-9D5D-45DB-AE9A-E5FA8DD1954A}" srcOrd="0" destOrd="0" presId="urn:microsoft.com/office/officeart/2008/layout/LinedList"/>
    <dgm:cxn modelId="{38596E64-6817-487C-8F02-19B75BF1ACE6}" type="presOf" srcId="{2FF8EFCD-CE07-405C-96B8-A14FA51A56E3}" destId="{F64F2722-3F31-46FA-82B5-CC680D70D5E8}" srcOrd="0" destOrd="0" presId="urn:microsoft.com/office/officeart/2008/layout/LinedList"/>
    <dgm:cxn modelId="{20EF98FF-7FAE-4920-B3A0-10D8D1B96796}" srcId="{F81860E6-71FF-4C5A-8B6F-00D5343A9FBF}" destId="{FB6B3482-83E2-428D-A6B0-25E21C75F1AC}" srcOrd="2" destOrd="0" parTransId="{93D86A22-0C5F-4025-8FD4-0B5008C78643}" sibTransId="{A400734C-AA41-4425-96ED-60C75E578F9A}"/>
    <dgm:cxn modelId="{642866EC-0F65-4713-8624-C2A6E3B1BB1D}" srcId="{F81860E6-71FF-4C5A-8B6F-00D5343A9FBF}" destId="{E4D101CE-287D-4E3B-BEE7-2BB03DCFAFAC}" srcOrd="8" destOrd="0" parTransId="{7F66F8D9-B05D-44B0-8B88-4B7EB89D81EF}" sibTransId="{65E22F40-6977-49EF-AD64-78DACEAC25E6}"/>
    <dgm:cxn modelId="{4710B183-AF87-45C9-B514-31109A7FA940}" srcId="{F81860E6-71FF-4C5A-8B6F-00D5343A9FBF}" destId="{E568C346-1BEE-494C-9D4D-C663BACE38BF}" srcOrd="7" destOrd="0" parTransId="{5F139BED-4D15-4B38-9FD8-A129DB9EE466}" sibTransId="{AD03BC9D-1DF2-4C7E-84EC-AB2525D123C3}"/>
    <dgm:cxn modelId="{8EDBE940-C39B-4BEA-906E-C6B11C9AA0D8}" srcId="{F81860E6-71FF-4C5A-8B6F-00D5343A9FBF}" destId="{ECECD6FB-70AB-45BB-8AC2-9088DD6D8B88}" srcOrd="4" destOrd="0" parTransId="{1935DBD8-506B-4343-952F-01D929FE0CA5}" sibTransId="{E5D1B1E0-1815-4985-B15E-377BD958F615}"/>
    <dgm:cxn modelId="{2A790DB8-A049-4178-9BDB-70D1887CCBF2}" type="presOf" srcId="{ECECD6FB-70AB-45BB-8AC2-9088DD6D8B88}" destId="{14C0C664-330F-42BD-AA48-057880D1F0F8}" srcOrd="0" destOrd="0" presId="urn:microsoft.com/office/officeart/2008/layout/LinedList"/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41C964A6-AE98-4237-ACCE-6D6C6BC59982}" type="presParOf" srcId="{D5A896F1-9D5D-45DB-AE9A-E5FA8DD1954A}" destId="{71842772-40DC-42F5-9C6A-7F30A0C9C754}" srcOrd="0" destOrd="0" presId="urn:microsoft.com/office/officeart/2008/layout/LinedList"/>
    <dgm:cxn modelId="{C42C5475-E82C-44F4-A00B-FEE750ADB6F2}" type="presParOf" srcId="{D5A896F1-9D5D-45DB-AE9A-E5FA8DD1954A}" destId="{FE66E09F-02B8-4E33-AA9A-D5AFEB68F61F}" srcOrd="1" destOrd="0" presId="urn:microsoft.com/office/officeart/2008/layout/LinedList"/>
    <dgm:cxn modelId="{EDBBA6A7-BEF3-4CE0-BAD1-7916F6A2DE31}" type="presParOf" srcId="{FE66E09F-02B8-4E33-AA9A-D5AFEB68F61F}" destId="{D54C637A-6658-4F0D-A80A-F87327424D5F}" srcOrd="0" destOrd="0" presId="urn:microsoft.com/office/officeart/2008/layout/LinedList"/>
    <dgm:cxn modelId="{78235F0C-019C-43A4-ACDF-AF43FCFC5BAB}" type="presParOf" srcId="{FE66E09F-02B8-4E33-AA9A-D5AFEB68F61F}" destId="{262C1D48-6933-4AB3-93B5-4763AB017F2E}" srcOrd="1" destOrd="0" presId="urn:microsoft.com/office/officeart/2008/layout/LinedList"/>
    <dgm:cxn modelId="{2B116EB2-B7DC-4EB8-B5D2-210B833FAE97}" type="presParOf" srcId="{262C1D48-6933-4AB3-93B5-4763AB017F2E}" destId="{8D317164-1EEE-49F7-9726-8DF5D2F97968}" srcOrd="0" destOrd="0" presId="urn:microsoft.com/office/officeart/2008/layout/LinedList"/>
    <dgm:cxn modelId="{07A2FACC-2860-41F4-837B-585B4273DB2B}" type="presParOf" srcId="{262C1D48-6933-4AB3-93B5-4763AB017F2E}" destId="{4FA6883A-7189-4C22-B8FB-BC5071E51B21}" srcOrd="1" destOrd="0" presId="urn:microsoft.com/office/officeart/2008/layout/LinedList"/>
    <dgm:cxn modelId="{A3B3FD12-8EF7-4DF4-81D9-2FA7460930E1}" type="presParOf" srcId="{4FA6883A-7189-4C22-B8FB-BC5071E51B21}" destId="{6E0D1820-7C7C-4563-9860-3EE7FFAEF385}" srcOrd="0" destOrd="0" presId="urn:microsoft.com/office/officeart/2008/layout/LinedList"/>
    <dgm:cxn modelId="{8A9E44F7-B0F3-4AC4-9790-9BFCC1E588AB}" type="presParOf" srcId="{4FA6883A-7189-4C22-B8FB-BC5071E51B21}" destId="{EB59EBFC-AC35-4A91-AE5A-2DBDF06B1B3D}" srcOrd="1" destOrd="0" presId="urn:microsoft.com/office/officeart/2008/layout/LinedList"/>
    <dgm:cxn modelId="{04845090-A0A6-437B-8372-9E240DBF0648}" type="presParOf" srcId="{4FA6883A-7189-4C22-B8FB-BC5071E51B21}" destId="{87B0C50D-44A0-4FDF-AECF-3BD2BD9D8C56}" srcOrd="2" destOrd="0" presId="urn:microsoft.com/office/officeart/2008/layout/LinedList"/>
    <dgm:cxn modelId="{7B9D847B-2DFE-41A3-B032-733FDA339B68}" type="presParOf" srcId="{262C1D48-6933-4AB3-93B5-4763AB017F2E}" destId="{E16606CE-0031-4905-B4BF-EA792DCA67E4}" srcOrd="2" destOrd="0" presId="urn:microsoft.com/office/officeart/2008/layout/LinedList"/>
    <dgm:cxn modelId="{E2CE7AFB-A564-4123-A975-966E4C8992E4}" type="presParOf" srcId="{262C1D48-6933-4AB3-93B5-4763AB017F2E}" destId="{03EF4AAE-5B24-4A31-8026-5A004837AAF2}" srcOrd="3" destOrd="0" presId="urn:microsoft.com/office/officeart/2008/layout/LinedList"/>
    <dgm:cxn modelId="{66256C54-7F84-4E2E-A0A6-67D1F77AF5A6}" type="presParOf" srcId="{262C1D48-6933-4AB3-93B5-4763AB017F2E}" destId="{9D2EB9C5-EC65-45C7-8EB0-FB67147A3A42}" srcOrd="4" destOrd="0" presId="urn:microsoft.com/office/officeart/2008/layout/LinedList"/>
    <dgm:cxn modelId="{1592AE07-FAD5-4585-AD0B-04DADE5ED8DA}" type="presParOf" srcId="{9D2EB9C5-EC65-45C7-8EB0-FB67147A3A42}" destId="{7F39C32B-4C15-4617-AD2D-90304C50AD46}" srcOrd="0" destOrd="0" presId="urn:microsoft.com/office/officeart/2008/layout/LinedList"/>
    <dgm:cxn modelId="{D4E65E4C-85A6-4B4F-BAFD-2F50F6AC283D}" type="presParOf" srcId="{9D2EB9C5-EC65-45C7-8EB0-FB67147A3A42}" destId="{F64F2722-3F31-46FA-82B5-CC680D70D5E8}" srcOrd="1" destOrd="0" presId="urn:microsoft.com/office/officeart/2008/layout/LinedList"/>
    <dgm:cxn modelId="{BC5E5BD9-7690-4015-AF65-F50019113670}" type="presParOf" srcId="{9D2EB9C5-EC65-45C7-8EB0-FB67147A3A42}" destId="{BF103640-E5A5-46EC-A042-326B8CF1382A}" srcOrd="2" destOrd="0" presId="urn:microsoft.com/office/officeart/2008/layout/LinedList"/>
    <dgm:cxn modelId="{43D0587F-144C-4A47-B3CC-C4E5E4A6A744}" type="presParOf" srcId="{262C1D48-6933-4AB3-93B5-4763AB017F2E}" destId="{8164E51D-D9DC-4FCD-BBF4-C8195D7C507B}" srcOrd="5" destOrd="0" presId="urn:microsoft.com/office/officeart/2008/layout/LinedList"/>
    <dgm:cxn modelId="{98E9A58B-DEE2-491A-8BEF-0F5F3AA23006}" type="presParOf" srcId="{262C1D48-6933-4AB3-93B5-4763AB017F2E}" destId="{39C554DA-AC88-4E60-8137-A97B32117F88}" srcOrd="6" destOrd="0" presId="urn:microsoft.com/office/officeart/2008/layout/LinedList"/>
    <dgm:cxn modelId="{9D94A3B1-0193-4EF4-9A27-1D341FE5AE9C}" type="presParOf" srcId="{262C1D48-6933-4AB3-93B5-4763AB017F2E}" destId="{31FF61E1-2522-45A8-89A3-470FB6578513}" srcOrd="7" destOrd="0" presId="urn:microsoft.com/office/officeart/2008/layout/LinedList"/>
    <dgm:cxn modelId="{D46DA5E3-8004-4170-85C9-DEFB15E13A38}" type="presParOf" srcId="{31FF61E1-2522-45A8-89A3-470FB6578513}" destId="{66A94508-BB56-4B2B-B5B1-E02016BDD630}" srcOrd="0" destOrd="0" presId="urn:microsoft.com/office/officeart/2008/layout/LinedList"/>
    <dgm:cxn modelId="{39BB79C7-034A-446A-BDDA-C8B4DD121137}" type="presParOf" srcId="{31FF61E1-2522-45A8-89A3-470FB6578513}" destId="{7074DAC7-B532-48FE-AC5C-1277069ED52B}" srcOrd="1" destOrd="0" presId="urn:microsoft.com/office/officeart/2008/layout/LinedList"/>
    <dgm:cxn modelId="{91827A24-BBB0-4453-990A-67DCA653D897}" type="presParOf" srcId="{31FF61E1-2522-45A8-89A3-470FB6578513}" destId="{4F7B2453-B3D9-44EE-BB4A-B5ECA2C15981}" srcOrd="2" destOrd="0" presId="urn:microsoft.com/office/officeart/2008/layout/LinedList"/>
    <dgm:cxn modelId="{1D636D6D-D7A6-44F5-9AEE-50776CB1D980}" type="presParOf" srcId="{262C1D48-6933-4AB3-93B5-4763AB017F2E}" destId="{6F543459-C8E2-47C8-AA25-4CE1E6255451}" srcOrd="8" destOrd="0" presId="urn:microsoft.com/office/officeart/2008/layout/LinedList"/>
    <dgm:cxn modelId="{1B61B7DE-0E52-4396-B8C0-FC30B6D18B6E}" type="presParOf" srcId="{262C1D48-6933-4AB3-93B5-4763AB017F2E}" destId="{8D1F511A-26F8-4EC4-98F2-6A1BB5341C0E}" srcOrd="9" destOrd="0" presId="urn:microsoft.com/office/officeart/2008/layout/LinedList"/>
    <dgm:cxn modelId="{6B3D00B6-45B8-4C23-8FB6-9310B92B9570}" type="presParOf" srcId="{262C1D48-6933-4AB3-93B5-4763AB017F2E}" destId="{50EE042E-404B-43B8-83EC-FD367A52EB0B}" srcOrd="10" destOrd="0" presId="urn:microsoft.com/office/officeart/2008/layout/LinedList"/>
    <dgm:cxn modelId="{E6327823-1658-4E2E-9FB7-04FBFB3BF43C}" type="presParOf" srcId="{50EE042E-404B-43B8-83EC-FD367A52EB0B}" destId="{66ECE46A-2AA0-4CA9-A909-2C5C2FF24E65}" srcOrd="0" destOrd="0" presId="urn:microsoft.com/office/officeart/2008/layout/LinedList"/>
    <dgm:cxn modelId="{F488CC9D-7F7B-4678-957E-755338D97B3B}" type="presParOf" srcId="{50EE042E-404B-43B8-83EC-FD367A52EB0B}" destId="{CC7BE0CE-9F3B-4058-AD47-B9A066B5DEA1}" srcOrd="1" destOrd="0" presId="urn:microsoft.com/office/officeart/2008/layout/LinedList"/>
    <dgm:cxn modelId="{55AB7220-EA0E-4ACE-9128-1066F66E0DC3}" type="presParOf" srcId="{50EE042E-404B-43B8-83EC-FD367A52EB0B}" destId="{64E1B93A-3031-495E-9487-EE8B3B3D4A5A}" srcOrd="2" destOrd="0" presId="urn:microsoft.com/office/officeart/2008/layout/LinedList"/>
    <dgm:cxn modelId="{73AEF06A-4686-4560-862B-69F564A63DFE}" type="presParOf" srcId="{262C1D48-6933-4AB3-93B5-4763AB017F2E}" destId="{2E1BC2D6-D488-4DB7-AE6A-DB4697B9B0E5}" srcOrd="11" destOrd="0" presId="urn:microsoft.com/office/officeart/2008/layout/LinedList"/>
    <dgm:cxn modelId="{9CD1BFE9-83D2-4269-9A54-86614DECE433}" type="presParOf" srcId="{262C1D48-6933-4AB3-93B5-4763AB017F2E}" destId="{6E9633F0-B293-4362-9123-1CF8EF68E360}" srcOrd="12" destOrd="0" presId="urn:microsoft.com/office/officeart/2008/layout/LinedList"/>
    <dgm:cxn modelId="{6FBE5D81-55B3-4958-A12E-CECF80EFB7D4}" type="presParOf" srcId="{262C1D48-6933-4AB3-93B5-4763AB017F2E}" destId="{60C4C1B8-92CA-480E-8CDC-7AE29ED8B08F}" srcOrd="13" destOrd="0" presId="urn:microsoft.com/office/officeart/2008/layout/LinedList"/>
    <dgm:cxn modelId="{EA820D3D-2CC7-4E5F-9EA7-F3287BDD3514}" type="presParOf" srcId="{60C4C1B8-92CA-480E-8CDC-7AE29ED8B08F}" destId="{6032F9EF-DE5A-422C-9157-1BBCC927D0C9}" srcOrd="0" destOrd="0" presId="urn:microsoft.com/office/officeart/2008/layout/LinedList"/>
    <dgm:cxn modelId="{D22C75E9-5678-43AC-ADD5-F0CED23791E4}" type="presParOf" srcId="{60C4C1B8-92CA-480E-8CDC-7AE29ED8B08F}" destId="{14C0C664-330F-42BD-AA48-057880D1F0F8}" srcOrd="1" destOrd="0" presId="urn:microsoft.com/office/officeart/2008/layout/LinedList"/>
    <dgm:cxn modelId="{309CA7FC-CEA9-4F74-86C2-40D422C801EE}" type="presParOf" srcId="{60C4C1B8-92CA-480E-8CDC-7AE29ED8B08F}" destId="{99B46EA9-F877-4751-AE4B-09C2BC8990B7}" srcOrd="2" destOrd="0" presId="urn:microsoft.com/office/officeart/2008/layout/LinedList"/>
    <dgm:cxn modelId="{17748319-B25D-46AC-AA36-7D436FBE476E}" type="presParOf" srcId="{262C1D48-6933-4AB3-93B5-4763AB017F2E}" destId="{84F6543A-09E3-4D22-BB7F-ECA903320EA2}" srcOrd="14" destOrd="0" presId="urn:microsoft.com/office/officeart/2008/layout/LinedList"/>
    <dgm:cxn modelId="{3C3E639E-2343-4A23-A2B2-6766D6937D77}" type="presParOf" srcId="{262C1D48-6933-4AB3-93B5-4763AB017F2E}" destId="{8D039C9C-99D2-41DE-B838-04C995DD62C1}" srcOrd="15" destOrd="0" presId="urn:microsoft.com/office/officeart/2008/layout/LinedList"/>
    <dgm:cxn modelId="{A3C9E765-311C-414E-A540-5EE4C1A50F8A}" type="presParOf" srcId="{262C1D48-6933-4AB3-93B5-4763AB017F2E}" destId="{96188122-5628-407F-BF07-D520BDB3F6DE}" srcOrd="16" destOrd="0" presId="urn:microsoft.com/office/officeart/2008/layout/LinedList"/>
    <dgm:cxn modelId="{2CE04386-07FB-4DB5-83E9-FBD60EF57BA3}" type="presParOf" srcId="{96188122-5628-407F-BF07-D520BDB3F6DE}" destId="{06C47C31-0900-4D61-9263-65AC03B7C2D0}" srcOrd="0" destOrd="0" presId="urn:microsoft.com/office/officeart/2008/layout/LinedList"/>
    <dgm:cxn modelId="{A679C012-4ABD-4901-B4B4-74B4C785F2F1}" type="presParOf" srcId="{96188122-5628-407F-BF07-D520BDB3F6DE}" destId="{542D0706-9D94-426D-B4D8-E8472C40EBEE}" srcOrd="1" destOrd="0" presId="urn:microsoft.com/office/officeart/2008/layout/LinedList"/>
    <dgm:cxn modelId="{46DD3AF0-04C4-4C7C-882C-8844EDCAB319}" type="presParOf" srcId="{96188122-5628-407F-BF07-D520BDB3F6DE}" destId="{016721B8-78BE-42A8-85CC-607D997BCE1C}" srcOrd="2" destOrd="0" presId="urn:microsoft.com/office/officeart/2008/layout/LinedList"/>
    <dgm:cxn modelId="{6322D6DD-527B-4854-AA67-99F5249BD7EF}" type="presParOf" srcId="{262C1D48-6933-4AB3-93B5-4763AB017F2E}" destId="{449136F5-0443-4772-ABC6-28A9F1C05D6C}" srcOrd="17" destOrd="0" presId="urn:microsoft.com/office/officeart/2008/layout/LinedList"/>
    <dgm:cxn modelId="{E1577FB1-2BE5-449E-8826-8AB6D74DA14C}" type="presParOf" srcId="{262C1D48-6933-4AB3-93B5-4763AB017F2E}" destId="{CA137213-0EC4-4211-A7DD-21DC30B4F0CB}" srcOrd="18" destOrd="0" presId="urn:microsoft.com/office/officeart/2008/layout/LinedList"/>
    <dgm:cxn modelId="{BFF3B07E-60C2-4D59-BE77-BDCD409FF6CE}" type="presParOf" srcId="{262C1D48-6933-4AB3-93B5-4763AB017F2E}" destId="{DD661A51-AC8B-40FA-93BC-9DF27BA611A2}" srcOrd="19" destOrd="0" presId="urn:microsoft.com/office/officeart/2008/layout/LinedList"/>
    <dgm:cxn modelId="{1FC3BD20-1A16-4CB8-94FD-9DFD83E6D5BB}" type="presParOf" srcId="{DD661A51-AC8B-40FA-93BC-9DF27BA611A2}" destId="{F71C1E3B-290D-4C1E-A908-F2E5E0408BD7}" srcOrd="0" destOrd="0" presId="urn:microsoft.com/office/officeart/2008/layout/LinedList"/>
    <dgm:cxn modelId="{A5C56A7D-127C-4351-B431-5DD6DE7EC94E}" type="presParOf" srcId="{DD661A51-AC8B-40FA-93BC-9DF27BA611A2}" destId="{5961FAAF-4B68-4454-97C2-BE153BD5DAF3}" srcOrd="1" destOrd="0" presId="urn:microsoft.com/office/officeart/2008/layout/LinedList"/>
    <dgm:cxn modelId="{E7B55F46-BF68-4D70-B0EC-3F0032727DA8}" type="presParOf" srcId="{DD661A51-AC8B-40FA-93BC-9DF27BA611A2}" destId="{DCB33EDF-EB2E-4833-B21D-0D5B2D9F4FC7}" srcOrd="2" destOrd="0" presId="urn:microsoft.com/office/officeart/2008/layout/LinedList"/>
    <dgm:cxn modelId="{A2F7A950-C5CD-4C0A-9964-18135D719BC5}" type="presParOf" srcId="{262C1D48-6933-4AB3-93B5-4763AB017F2E}" destId="{004C6427-5EDF-4A5B-8C2F-04706423A89A}" srcOrd="20" destOrd="0" presId="urn:microsoft.com/office/officeart/2008/layout/LinedList"/>
    <dgm:cxn modelId="{3C6931C7-DD15-4477-9D84-012064B6C30E}" type="presParOf" srcId="{262C1D48-6933-4AB3-93B5-4763AB017F2E}" destId="{F510826A-66A3-47F7-A649-BA8A8FBEB955}" srcOrd="21" destOrd="0" presId="urn:microsoft.com/office/officeart/2008/layout/LinedList"/>
    <dgm:cxn modelId="{A1534267-B19C-4467-BD57-74A2A50D0811}" type="presParOf" srcId="{262C1D48-6933-4AB3-93B5-4763AB017F2E}" destId="{D7988C78-8650-47DD-82C2-3F84E131870B}" srcOrd="22" destOrd="0" presId="urn:microsoft.com/office/officeart/2008/layout/LinedList"/>
    <dgm:cxn modelId="{3E337C79-583A-46C4-BB23-8604942D94EF}" type="presParOf" srcId="{D7988C78-8650-47DD-82C2-3F84E131870B}" destId="{F1EB1D1F-5292-404E-A9BA-2954B05BD7C3}" srcOrd="0" destOrd="0" presId="urn:microsoft.com/office/officeart/2008/layout/LinedList"/>
    <dgm:cxn modelId="{9931A862-7C31-4B1C-AF2B-07A15915A95D}" type="presParOf" srcId="{D7988C78-8650-47DD-82C2-3F84E131870B}" destId="{0143C9EC-2AED-4ECB-8740-0BAED8980666}" srcOrd="1" destOrd="0" presId="urn:microsoft.com/office/officeart/2008/layout/LinedList"/>
    <dgm:cxn modelId="{BEA685EF-A2E3-4154-B2BA-BDA1E84F73E1}" type="presParOf" srcId="{D7988C78-8650-47DD-82C2-3F84E131870B}" destId="{7DE518CC-ED0A-4DFD-A017-2D5E3C0CB179}" srcOrd="2" destOrd="0" presId="urn:microsoft.com/office/officeart/2008/layout/LinedList"/>
    <dgm:cxn modelId="{A5F8B869-713D-4F4B-84BE-A4FF5E34DBE3}" type="presParOf" srcId="{262C1D48-6933-4AB3-93B5-4763AB017F2E}" destId="{821116B9-2534-4293-94E5-5E0D881AC319}" srcOrd="23" destOrd="0" presId="urn:microsoft.com/office/officeart/2008/layout/LinedList"/>
    <dgm:cxn modelId="{75798980-352E-453F-AB9A-28DFE940E108}" type="presParOf" srcId="{262C1D48-6933-4AB3-93B5-4763AB017F2E}" destId="{DBC1B8E0-4334-489A-9B2B-7A574F51121B}" srcOrd="24" destOrd="0" presId="urn:microsoft.com/office/officeart/2008/layout/LinedList"/>
    <dgm:cxn modelId="{6AC16C32-B8AE-4395-8E32-C20EDCBEEA5F}" type="presParOf" srcId="{262C1D48-6933-4AB3-93B5-4763AB017F2E}" destId="{7DF8EB81-BED7-4695-976B-E2E9DE9C1F1B}" srcOrd="25" destOrd="0" presId="urn:microsoft.com/office/officeart/2008/layout/LinedList"/>
    <dgm:cxn modelId="{905E6D9F-0D71-4BCB-80DA-B93D34E53B99}" type="presParOf" srcId="{7DF8EB81-BED7-4695-976B-E2E9DE9C1F1B}" destId="{06C04D1D-51C7-4109-A1B0-F5892FE0B96E}" srcOrd="0" destOrd="0" presId="urn:microsoft.com/office/officeart/2008/layout/LinedList"/>
    <dgm:cxn modelId="{95B81EA0-8621-42D8-B5E2-0AC5EA0F554B}" type="presParOf" srcId="{7DF8EB81-BED7-4695-976B-E2E9DE9C1F1B}" destId="{8E39A21E-42B2-425C-95C1-4616C8BC4BB3}" srcOrd="1" destOrd="0" presId="urn:microsoft.com/office/officeart/2008/layout/LinedList"/>
    <dgm:cxn modelId="{54585CBD-8F5B-460D-9CF8-4E5F5C8F3768}" type="presParOf" srcId="{7DF8EB81-BED7-4695-976B-E2E9DE9C1F1B}" destId="{DEC79E60-6178-4440-8865-1695A54A1206}" srcOrd="2" destOrd="0" presId="urn:microsoft.com/office/officeart/2008/layout/LinedList"/>
    <dgm:cxn modelId="{CAB9DB1C-49FD-4A6E-B31B-8A18662B9261}" type="presParOf" srcId="{262C1D48-6933-4AB3-93B5-4763AB017F2E}" destId="{1BF35C0E-D2B6-44B2-B821-775170F6688C}" srcOrd="26" destOrd="0" presId="urn:microsoft.com/office/officeart/2008/layout/LinedList"/>
    <dgm:cxn modelId="{992438B6-0BF3-470D-B119-A868EB74BB37}" type="presParOf" srcId="{262C1D48-6933-4AB3-93B5-4763AB017F2E}" destId="{022030E2-62C1-4F08-9DCA-F895A1580920}" srcOrd="27" destOrd="0" presId="urn:microsoft.com/office/officeart/2008/layout/LinedList"/>
    <dgm:cxn modelId="{5CC7160F-7AFD-4A72-8ABF-69C8480D7B28}" type="presParOf" srcId="{262C1D48-6933-4AB3-93B5-4763AB017F2E}" destId="{27D5364C-276C-492C-A6EA-A6CC130E2C27}" srcOrd="28" destOrd="0" presId="urn:microsoft.com/office/officeart/2008/layout/LinedList"/>
    <dgm:cxn modelId="{B460D1CE-3C5F-49AB-B37E-FCDBF8E7E964}" type="presParOf" srcId="{27D5364C-276C-492C-A6EA-A6CC130E2C27}" destId="{4172DDB6-10D3-4E7B-A92C-A27F39F3E598}" srcOrd="0" destOrd="0" presId="urn:microsoft.com/office/officeart/2008/layout/LinedList"/>
    <dgm:cxn modelId="{46E9D0D7-8B0A-428B-A83C-7371F041C029}" type="presParOf" srcId="{27D5364C-276C-492C-A6EA-A6CC130E2C27}" destId="{0B70BBD2-30F7-4E08-8A71-FCC2CF1D9CA8}" srcOrd="1" destOrd="0" presId="urn:microsoft.com/office/officeart/2008/layout/LinedList"/>
    <dgm:cxn modelId="{8454525E-7967-4C92-B6A0-328E07F59C99}" type="presParOf" srcId="{27D5364C-276C-492C-A6EA-A6CC130E2C27}" destId="{E3D9660D-A4AB-4429-8914-57A76F8CAEF8}" srcOrd="2" destOrd="0" presId="urn:microsoft.com/office/officeart/2008/layout/LinedList"/>
    <dgm:cxn modelId="{971C60EB-ED1F-4F24-95A3-A3A042C27F4F}" type="presParOf" srcId="{262C1D48-6933-4AB3-93B5-4763AB017F2E}" destId="{CA30721E-DD46-427F-A132-6488C2A70A35}" srcOrd="29" destOrd="0" presId="urn:microsoft.com/office/officeart/2008/layout/LinedList"/>
    <dgm:cxn modelId="{B435D0DA-6359-46C9-AC0B-35DEEC6399B4}" type="presParOf" srcId="{262C1D48-6933-4AB3-93B5-4763AB017F2E}" destId="{FC35F44A-112C-4686-9A46-D5B03E8EF553}" srcOrd="30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81860E6-71FF-4C5A-8B6F-00D5343A9FBF}">
      <dgm:prSet phldrT="[Tekst]" custT="1"/>
      <dgm:spPr/>
      <dgm:t>
        <a:bodyPr/>
        <a:lstStyle/>
        <a:p>
          <a:pPr algn="l"/>
          <a:r>
            <a:rPr lang="hr-HR" sz="2000" b="1" dirty="0" smtClean="0"/>
            <a:t>Ministarstvo gospodarstva</a:t>
          </a:r>
          <a:endParaRPr lang="hr-HR" sz="2000" b="1" dirty="0"/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/>
        </a:p>
      </dgm:t>
    </dgm:pt>
    <dgm:pt modelId="{A0682142-CCC4-431E-9CAE-F34F449F517C}">
      <dgm:prSet phldrT="[Tekst]" custT="1"/>
      <dgm:spPr/>
      <dgm:t>
        <a:bodyPr/>
        <a:lstStyle/>
        <a:p>
          <a:pPr algn="l"/>
          <a:r>
            <a:rPr lang="hr-HR" sz="1400" dirty="0" smtClean="0"/>
            <a:t>Definirati selekcijske kriterije i brisati projekte iz registra i s liste za priključak koji nisu ishodili potrebne dozvole u propisanim rokovima</a:t>
          </a:r>
          <a:endParaRPr lang="hr-HR" sz="1000" dirty="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/>
        </a:p>
      </dgm:t>
    </dgm:pt>
    <dgm:pt modelId="{E1A69B60-1FC7-4464-85FA-AA6296C5C8E2}">
      <dgm:prSet custT="1"/>
      <dgm:spPr/>
      <dgm:t>
        <a:bodyPr/>
        <a:lstStyle/>
        <a:p>
          <a:r>
            <a:rPr lang="hr-HR" sz="1400" dirty="0" smtClean="0"/>
            <a:t>Dovršiti, usvojiti i primijeniti Zakon o obnovljivim izvorima energije te uvesti obvezu predviđanja proizvodnje iz OIE</a:t>
          </a:r>
          <a:endParaRPr lang="hr-HR" sz="1400" dirty="0"/>
        </a:p>
      </dgm:t>
    </dgm:pt>
    <dgm:pt modelId="{A3ACE6E3-B88C-43A2-B844-C05A9828E075}" type="parTrans" cxnId="{B983610A-A085-4C05-A1B7-BDD8A99BB0DA}">
      <dgm:prSet/>
      <dgm:spPr/>
      <dgm:t>
        <a:bodyPr/>
        <a:lstStyle/>
        <a:p>
          <a:endParaRPr lang="hr-HR"/>
        </a:p>
      </dgm:t>
    </dgm:pt>
    <dgm:pt modelId="{A40BC905-06A5-4422-AEEF-C2E053EE59F7}" type="sibTrans" cxnId="{B983610A-A085-4C05-A1B7-BDD8A99BB0DA}">
      <dgm:prSet/>
      <dgm:spPr/>
      <dgm:t>
        <a:bodyPr/>
        <a:lstStyle/>
        <a:p>
          <a:endParaRPr lang="hr-HR"/>
        </a:p>
      </dgm:t>
    </dgm:pt>
    <dgm:pt modelId="{B1B12812-60F5-4788-B8E5-CE1D4BF3241E}">
      <dgm:prSet custT="1"/>
      <dgm:spPr/>
      <dgm:t>
        <a:bodyPr/>
        <a:lstStyle/>
        <a:p>
          <a:r>
            <a:rPr lang="hr-HR" sz="1400" dirty="0" smtClean="0"/>
            <a:t>Usvojiti Metodologiju za izračun referentnih troškova proizvodnje energije iz OIE i kogeneracije</a:t>
          </a:r>
          <a:endParaRPr lang="hr-HR" sz="1400" dirty="0"/>
        </a:p>
      </dgm:t>
    </dgm:pt>
    <dgm:pt modelId="{7AD8B80F-A269-4CB3-AB05-693F6005A695}" type="parTrans" cxnId="{BB71D2EB-93A5-4A9A-BF36-96DDE074A6F4}">
      <dgm:prSet/>
      <dgm:spPr/>
      <dgm:t>
        <a:bodyPr/>
        <a:lstStyle/>
        <a:p>
          <a:endParaRPr lang="hr-HR"/>
        </a:p>
      </dgm:t>
    </dgm:pt>
    <dgm:pt modelId="{14733203-43C8-421C-B40E-7A058E00A7C9}" type="sibTrans" cxnId="{BB71D2EB-93A5-4A9A-BF36-96DDE074A6F4}">
      <dgm:prSet/>
      <dgm:spPr/>
      <dgm:t>
        <a:bodyPr/>
        <a:lstStyle/>
        <a:p>
          <a:endParaRPr lang="hr-HR"/>
        </a:p>
      </dgm:t>
    </dgm:pt>
    <dgm:pt modelId="{96461464-2553-497B-AB02-AC4B9B5DD0B2}">
      <dgm:prSet custT="1"/>
      <dgm:spPr/>
      <dgm:t>
        <a:bodyPr/>
        <a:lstStyle/>
        <a:p>
          <a:r>
            <a:rPr lang="hr-HR" sz="1400" dirty="0" smtClean="0"/>
            <a:t>Usvojiti Program državnih potpora za proizvodnju električne energije iz OIE i kogeneracije</a:t>
          </a:r>
          <a:endParaRPr lang="hr-HR" sz="1400" dirty="0"/>
        </a:p>
      </dgm:t>
    </dgm:pt>
    <dgm:pt modelId="{F977137E-E046-4B43-9C1F-99E08D5C44BF}" type="parTrans" cxnId="{C069A6BD-F0EA-4E14-8EF4-3732E5673285}">
      <dgm:prSet/>
      <dgm:spPr/>
      <dgm:t>
        <a:bodyPr/>
        <a:lstStyle/>
        <a:p>
          <a:endParaRPr lang="hr-HR"/>
        </a:p>
      </dgm:t>
    </dgm:pt>
    <dgm:pt modelId="{36006EB9-5057-45AC-86FB-ACA35E6DF4D1}" type="sibTrans" cxnId="{C069A6BD-F0EA-4E14-8EF4-3732E5673285}">
      <dgm:prSet/>
      <dgm:spPr/>
      <dgm:t>
        <a:bodyPr/>
        <a:lstStyle/>
        <a:p>
          <a:endParaRPr lang="hr-HR"/>
        </a:p>
      </dgm:t>
    </dgm:pt>
    <dgm:pt modelId="{30F526AA-F05B-485D-81B6-8DE0BE85B3ED}">
      <dgm:prSet custT="1"/>
      <dgm:spPr/>
      <dgm:t>
        <a:bodyPr/>
        <a:lstStyle/>
        <a:p>
          <a:r>
            <a:rPr lang="hr-HR" sz="1400" dirty="0" smtClean="0"/>
            <a:t>Revidirati NAP i Tarifni sustav i uskladiti sa Strategijom energetskog razvoja kao i sa Metodologijom i Programom i omogućiti razvoj i dovršetak komercijalno atraktivnih projekata</a:t>
          </a:r>
          <a:endParaRPr lang="hr-HR" sz="1400" dirty="0"/>
        </a:p>
      </dgm:t>
    </dgm:pt>
    <dgm:pt modelId="{4A1BE4EB-2D98-4E41-994D-D642A837A077}" type="parTrans" cxnId="{6A324105-1B8D-4B6D-ADEB-6F92EC573A39}">
      <dgm:prSet/>
      <dgm:spPr/>
      <dgm:t>
        <a:bodyPr/>
        <a:lstStyle/>
        <a:p>
          <a:endParaRPr lang="hr-HR"/>
        </a:p>
      </dgm:t>
    </dgm:pt>
    <dgm:pt modelId="{EB3F8F69-96DB-40DF-B3AD-D111F263AAD3}" type="sibTrans" cxnId="{6A324105-1B8D-4B6D-ADEB-6F92EC573A39}">
      <dgm:prSet/>
      <dgm:spPr/>
      <dgm:t>
        <a:bodyPr/>
        <a:lstStyle/>
        <a:p>
          <a:endParaRPr lang="hr-HR"/>
        </a:p>
      </dgm:t>
    </dgm:pt>
    <dgm:pt modelId="{88B7B8DD-E3FC-4651-B4BA-A60267B9D696}">
      <dgm:prSet custT="1"/>
      <dgm:spPr/>
      <dgm:t>
        <a:bodyPr/>
        <a:lstStyle/>
        <a:p>
          <a:r>
            <a:rPr lang="hr-HR" sz="1400" dirty="0" smtClean="0"/>
            <a:t>Uvesti mjeru definiranja kvote za sve vidove </a:t>
          </a:r>
          <a:r>
            <a:rPr lang="hr-HR" sz="1400" dirty="0" err="1" smtClean="0"/>
            <a:t>OIEu</a:t>
          </a:r>
          <a:r>
            <a:rPr lang="hr-HR" sz="1400" dirty="0" smtClean="0"/>
            <a:t> sklopu Tarifnog sustava, a ne samo za </a:t>
          </a:r>
          <a:r>
            <a:rPr lang="hr-HR" sz="1400" dirty="0" err="1" smtClean="0"/>
            <a:t>solare</a:t>
          </a:r>
          <a:r>
            <a:rPr lang="hr-HR" sz="1400" dirty="0" smtClean="0"/>
            <a:t>. </a:t>
          </a:r>
          <a:endParaRPr lang="hr-HR" sz="1400" dirty="0"/>
        </a:p>
      </dgm:t>
    </dgm:pt>
    <dgm:pt modelId="{9455AAD8-39ED-4643-84ED-C4AA5A7476FA}" type="parTrans" cxnId="{F5DFE6DC-EE46-4F12-A9F8-0CB85B2B0CC5}">
      <dgm:prSet/>
      <dgm:spPr/>
      <dgm:t>
        <a:bodyPr/>
        <a:lstStyle/>
        <a:p>
          <a:endParaRPr lang="hr-HR"/>
        </a:p>
      </dgm:t>
    </dgm:pt>
    <dgm:pt modelId="{C0E23B8D-5F61-4E6C-9FF8-6BEC6B5FFC1D}" type="sibTrans" cxnId="{F5DFE6DC-EE46-4F12-A9F8-0CB85B2B0CC5}">
      <dgm:prSet/>
      <dgm:spPr/>
      <dgm:t>
        <a:bodyPr/>
        <a:lstStyle/>
        <a:p>
          <a:endParaRPr lang="hr-HR"/>
        </a:p>
      </dgm:t>
    </dgm:pt>
    <dgm:pt modelId="{E60C540A-D306-47B6-BD22-E22612CA3888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866EAC21-317C-4717-B1A9-C57165E78D08}" type="pres">
      <dgm:prSet presAssocID="{F81860E6-71FF-4C5A-8B6F-00D5343A9FBF}" presName="thickLine" presStyleLbl="alignNode1" presStyleIdx="0" presStyleCnt="1"/>
      <dgm:spPr/>
    </dgm:pt>
    <dgm:pt modelId="{2AE480D4-D481-4C3D-99AF-9B374F12667E}" type="pres">
      <dgm:prSet presAssocID="{F81860E6-71FF-4C5A-8B6F-00D5343A9FBF}" presName="horz1" presStyleCnt="0"/>
      <dgm:spPr/>
    </dgm:pt>
    <dgm:pt modelId="{5225345D-BF87-4E32-BA5B-965D766AA67C}" type="pres">
      <dgm:prSet presAssocID="{F81860E6-71FF-4C5A-8B6F-00D5343A9FBF}" presName="tx1" presStyleLbl="revTx" presStyleIdx="0" presStyleCnt="7"/>
      <dgm:spPr/>
      <dgm:t>
        <a:bodyPr/>
        <a:lstStyle/>
        <a:p>
          <a:endParaRPr lang="hr-HR"/>
        </a:p>
      </dgm:t>
    </dgm:pt>
    <dgm:pt modelId="{D3B5484A-D819-4735-AF41-F4F7CA1AAE21}" type="pres">
      <dgm:prSet presAssocID="{F81860E6-71FF-4C5A-8B6F-00D5343A9FBF}" presName="vert1" presStyleCnt="0"/>
      <dgm:spPr/>
    </dgm:pt>
    <dgm:pt modelId="{BB299944-788E-43EE-97C5-D9483E2C2521}" type="pres">
      <dgm:prSet presAssocID="{A0682142-CCC4-431E-9CAE-F34F449F517C}" presName="vertSpace2a" presStyleCnt="0"/>
      <dgm:spPr/>
    </dgm:pt>
    <dgm:pt modelId="{54F91C5E-8A10-403D-AE81-DFCD7B0C4B44}" type="pres">
      <dgm:prSet presAssocID="{A0682142-CCC4-431E-9CAE-F34F449F517C}" presName="horz2" presStyleCnt="0"/>
      <dgm:spPr/>
    </dgm:pt>
    <dgm:pt modelId="{AD0EFFB5-2B43-4C58-BD05-B08A7B6022E8}" type="pres">
      <dgm:prSet presAssocID="{A0682142-CCC4-431E-9CAE-F34F449F517C}" presName="horzSpace2" presStyleCnt="0"/>
      <dgm:spPr/>
    </dgm:pt>
    <dgm:pt modelId="{3B6E5102-FD33-4C65-BCF3-2610902F9C76}" type="pres">
      <dgm:prSet presAssocID="{A0682142-CCC4-431E-9CAE-F34F449F517C}" presName="tx2" presStyleLbl="revTx" presStyleIdx="1" presStyleCnt="7"/>
      <dgm:spPr/>
      <dgm:t>
        <a:bodyPr/>
        <a:lstStyle/>
        <a:p>
          <a:endParaRPr lang="hr-HR"/>
        </a:p>
      </dgm:t>
    </dgm:pt>
    <dgm:pt modelId="{7C0BEA80-32CB-436D-A50D-3C41A4912E5E}" type="pres">
      <dgm:prSet presAssocID="{A0682142-CCC4-431E-9CAE-F34F449F517C}" presName="vert2" presStyleCnt="0"/>
      <dgm:spPr/>
    </dgm:pt>
    <dgm:pt modelId="{CDB3CD81-4606-4C4A-8971-785341FB88EF}" type="pres">
      <dgm:prSet presAssocID="{A0682142-CCC4-431E-9CAE-F34F449F517C}" presName="thinLine2b" presStyleLbl="callout" presStyleIdx="0" presStyleCnt="6"/>
      <dgm:spPr/>
    </dgm:pt>
    <dgm:pt modelId="{786E0252-347B-40A1-A810-31E4F43B4971}" type="pres">
      <dgm:prSet presAssocID="{A0682142-CCC4-431E-9CAE-F34F449F517C}" presName="vertSpace2b" presStyleCnt="0"/>
      <dgm:spPr/>
    </dgm:pt>
    <dgm:pt modelId="{A075D402-50BC-4E02-84A3-7905DC1A75CC}" type="pres">
      <dgm:prSet presAssocID="{E1A69B60-1FC7-4464-85FA-AA6296C5C8E2}" presName="horz2" presStyleCnt="0"/>
      <dgm:spPr/>
    </dgm:pt>
    <dgm:pt modelId="{B6DDD66B-833A-450B-B8C7-127471404CB9}" type="pres">
      <dgm:prSet presAssocID="{E1A69B60-1FC7-4464-85FA-AA6296C5C8E2}" presName="horzSpace2" presStyleCnt="0"/>
      <dgm:spPr/>
    </dgm:pt>
    <dgm:pt modelId="{619AC560-B718-4D08-9998-14707DB6A9AA}" type="pres">
      <dgm:prSet presAssocID="{E1A69B60-1FC7-4464-85FA-AA6296C5C8E2}" presName="tx2" presStyleLbl="revTx" presStyleIdx="2" presStyleCnt="7"/>
      <dgm:spPr/>
      <dgm:t>
        <a:bodyPr/>
        <a:lstStyle/>
        <a:p>
          <a:endParaRPr lang="hr-HR"/>
        </a:p>
      </dgm:t>
    </dgm:pt>
    <dgm:pt modelId="{87ABDE50-DC7C-4CE7-9A89-27AAADC29590}" type="pres">
      <dgm:prSet presAssocID="{E1A69B60-1FC7-4464-85FA-AA6296C5C8E2}" presName="vert2" presStyleCnt="0"/>
      <dgm:spPr/>
    </dgm:pt>
    <dgm:pt modelId="{C4BDBEF8-7618-4E9D-8887-AC02EB7C1CE3}" type="pres">
      <dgm:prSet presAssocID="{E1A69B60-1FC7-4464-85FA-AA6296C5C8E2}" presName="thinLine2b" presStyleLbl="callout" presStyleIdx="1" presStyleCnt="6"/>
      <dgm:spPr/>
    </dgm:pt>
    <dgm:pt modelId="{8E4FC99E-3EF4-40E5-A21D-4861C2E33ACE}" type="pres">
      <dgm:prSet presAssocID="{E1A69B60-1FC7-4464-85FA-AA6296C5C8E2}" presName="vertSpace2b" presStyleCnt="0"/>
      <dgm:spPr/>
    </dgm:pt>
    <dgm:pt modelId="{BC52BB96-FE9C-4B96-B7F5-F81DF680A4A3}" type="pres">
      <dgm:prSet presAssocID="{B1B12812-60F5-4788-B8E5-CE1D4BF3241E}" presName="horz2" presStyleCnt="0"/>
      <dgm:spPr/>
    </dgm:pt>
    <dgm:pt modelId="{56054727-F47A-49F3-A300-2394872475B8}" type="pres">
      <dgm:prSet presAssocID="{B1B12812-60F5-4788-B8E5-CE1D4BF3241E}" presName="horzSpace2" presStyleCnt="0"/>
      <dgm:spPr/>
    </dgm:pt>
    <dgm:pt modelId="{42B6D06C-CEC1-41E7-AA11-071FACAF840B}" type="pres">
      <dgm:prSet presAssocID="{B1B12812-60F5-4788-B8E5-CE1D4BF3241E}" presName="tx2" presStyleLbl="revTx" presStyleIdx="3" presStyleCnt="7"/>
      <dgm:spPr/>
      <dgm:t>
        <a:bodyPr/>
        <a:lstStyle/>
        <a:p>
          <a:endParaRPr lang="hr-HR"/>
        </a:p>
      </dgm:t>
    </dgm:pt>
    <dgm:pt modelId="{BBD759A9-8DE1-4DFC-A9C5-746C54BEA96B}" type="pres">
      <dgm:prSet presAssocID="{B1B12812-60F5-4788-B8E5-CE1D4BF3241E}" presName="vert2" presStyleCnt="0"/>
      <dgm:spPr/>
    </dgm:pt>
    <dgm:pt modelId="{A529F6CF-5CC1-4442-AD0F-D7BCBA3054E7}" type="pres">
      <dgm:prSet presAssocID="{B1B12812-60F5-4788-B8E5-CE1D4BF3241E}" presName="thinLine2b" presStyleLbl="callout" presStyleIdx="2" presStyleCnt="6"/>
      <dgm:spPr/>
    </dgm:pt>
    <dgm:pt modelId="{03A594B2-837C-4002-854C-9863E22DFCBF}" type="pres">
      <dgm:prSet presAssocID="{B1B12812-60F5-4788-B8E5-CE1D4BF3241E}" presName="vertSpace2b" presStyleCnt="0"/>
      <dgm:spPr/>
    </dgm:pt>
    <dgm:pt modelId="{6DAE63F4-1D5A-46E4-AB51-4811761884FB}" type="pres">
      <dgm:prSet presAssocID="{96461464-2553-497B-AB02-AC4B9B5DD0B2}" presName="horz2" presStyleCnt="0"/>
      <dgm:spPr/>
    </dgm:pt>
    <dgm:pt modelId="{C0F45E8A-7E0C-4E38-A019-F6A449AAEE8A}" type="pres">
      <dgm:prSet presAssocID="{96461464-2553-497B-AB02-AC4B9B5DD0B2}" presName="horzSpace2" presStyleCnt="0"/>
      <dgm:spPr/>
    </dgm:pt>
    <dgm:pt modelId="{C4A578BE-5C8F-4B89-BF24-53B4D200D0F6}" type="pres">
      <dgm:prSet presAssocID="{96461464-2553-497B-AB02-AC4B9B5DD0B2}" presName="tx2" presStyleLbl="revTx" presStyleIdx="4" presStyleCnt="7"/>
      <dgm:spPr/>
      <dgm:t>
        <a:bodyPr/>
        <a:lstStyle/>
        <a:p>
          <a:endParaRPr lang="hr-HR"/>
        </a:p>
      </dgm:t>
    </dgm:pt>
    <dgm:pt modelId="{9B8A0032-291E-4BA9-AFE7-B6E1C9123022}" type="pres">
      <dgm:prSet presAssocID="{96461464-2553-497B-AB02-AC4B9B5DD0B2}" presName="vert2" presStyleCnt="0"/>
      <dgm:spPr/>
    </dgm:pt>
    <dgm:pt modelId="{C8E6B7CB-2828-4F61-8E67-47315A9A1F2C}" type="pres">
      <dgm:prSet presAssocID="{96461464-2553-497B-AB02-AC4B9B5DD0B2}" presName="thinLine2b" presStyleLbl="callout" presStyleIdx="3" presStyleCnt="6"/>
      <dgm:spPr/>
    </dgm:pt>
    <dgm:pt modelId="{0098DB8E-B7A4-4FFA-9E76-D71765900A87}" type="pres">
      <dgm:prSet presAssocID="{96461464-2553-497B-AB02-AC4B9B5DD0B2}" presName="vertSpace2b" presStyleCnt="0"/>
      <dgm:spPr/>
    </dgm:pt>
    <dgm:pt modelId="{A83892FB-0940-49A9-8F0E-C0CDC6802998}" type="pres">
      <dgm:prSet presAssocID="{30F526AA-F05B-485D-81B6-8DE0BE85B3ED}" presName="horz2" presStyleCnt="0"/>
      <dgm:spPr/>
    </dgm:pt>
    <dgm:pt modelId="{303CDD23-6038-4965-BB6D-362212556EBE}" type="pres">
      <dgm:prSet presAssocID="{30F526AA-F05B-485D-81B6-8DE0BE85B3ED}" presName="horzSpace2" presStyleCnt="0"/>
      <dgm:spPr/>
    </dgm:pt>
    <dgm:pt modelId="{A068DEF3-F54D-4E90-BE3F-C3F66D6411DF}" type="pres">
      <dgm:prSet presAssocID="{30F526AA-F05B-485D-81B6-8DE0BE85B3ED}" presName="tx2" presStyleLbl="revTx" presStyleIdx="5" presStyleCnt="7" custScaleY="125873"/>
      <dgm:spPr/>
      <dgm:t>
        <a:bodyPr/>
        <a:lstStyle/>
        <a:p>
          <a:endParaRPr lang="hr-HR"/>
        </a:p>
      </dgm:t>
    </dgm:pt>
    <dgm:pt modelId="{079B47BD-DAE6-4BD3-8E3E-5C3A80A38238}" type="pres">
      <dgm:prSet presAssocID="{30F526AA-F05B-485D-81B6-8DE0BE85B3ED}" presName="vert2" presStyleCnt="0"/>
      <dgm:spPr/>
    </dgm:pt>
    <dgm:pt modelId="{C5AD2466-F089-45AC-8633-DC296C75F1E0}" type="pres">
      <dgm:prSet presAssocID="{30F526AA-F05B-485D-81B6-8DE0BE85B3ED}" presName="thinLine2b" presStyleLbl="callout" presStyleIdx="4" presStyleCnt="6"/>
      <dgm:spPr/>
    </dgm:pt>
    <dgm:pt modelId="{865A2E86-A8C3-43C1-BF9A-D10DBC17E7DE}" type="pres">
      <dgm:prSet presAssocID="{30F526AA-F05B-485D-81B6-8DE0BE85B3ED}" presName="vertSpace2b" presStyleCnt="0"/>
      <dgm:spPr/>
    </dgm:pt>
    <dgm:pt modelId="{86968CF7-F480-43DB-ABFF-0FF70FAB4E71}" type="pres">
      <dgm:prSet presAssocID="{88B7B8DD-E3FC-4651-B4BA-A60267B9D696}" presName="horz2" presStyleCnt="0"/>
      <dgm:spPr/>
    </dgm:pt>
    <dgm:pt modelId="{9CF5EF3F-BB9D-4FDE-8020-51FE6FAF1FE7}" type="pres">
      <dgm:prSet presAssocID="{88B7B8DD-E3FC-4651-B4BA-A60267B9D696}" presName="horzSpace2" presStyleCnt="0"/>
      <dgm:spPr/>
    </dgm:pt>
    <dgm:pt modelId="{53EA6DF0-BCB8-4A60-8D4E-42F1ECB93DC7}" type="pres">
      <dgm:prSet presAssocID="{88B7B8DD-E3FC-4651-B4BA-A60267B9D696}" presName="tx2" presStyleLbl="revTx" presStyleIdx="6" presStyleCnt="7"/>
      <dgm:spPr/>
      <dgm:t>
        <a:bodyPr/>
        <a:lstStyle/>
        <a:p>
          <a:endParaRPr lang="hr-HR"/>
        </a:p>
      </dgm:t>
    </dgm:pt>
    <dgm:pt modelId="{F99D4DB9-38AD-471D-BB12-DCD830A901D8}" type="pres">
      <dgm:prSet presAssocID="{88B7B8DD-E3FC-4651-B4BA-A60267B9D696}" presName="vert2" presStyleCnt="0"/>
      <dgm:spPr/>
    </dgm:pt>
    <dgm:pt modelId="{B494F67B-B036-4A48-8EBE-22DAD2245DAE}" type="pres">
      <dgm:prSet presAssocID="{88B7B8DD-E3FC-4651-B4BA-A60267B9D696}" presName="thinLine2b" presStyleLbl="callout" presStyleIdx="5" presStyleCnt="6"/>
      <dgm:spPr/>
    </dgm:pt>
    <dgm:pt modelId="{3EEA0C93-8E89-41FE-9C0E-1E709BA2D249}" type="pres">
      <dgm:prSet presAssocID="{88B7B8DD-E3FC-4651-B4BA-A60267B9D696}" presName="vertSpace2b" presStyleCnt="0"/>
      <dgm:spPr/>
    </dgm:pt>
  </dgm:ptLst>
  <dgm:cxnLst>
    <dgm:cxn modelId="{5AAD4042-B728-441E-A398-31D761EA3F82}" type="presOf" srcId="{A0682142-CCC4-431E-9CAE-F34F449F517C}" destId="{3B6E5102-FD33-4C65-BCF3-2610902F9C76}" srcOrd="0" destOrd="0" presId="urn:microsoft.com/office/officeart/2008/layout/LinedList"/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1B7899A2-2C4F-492F-B908-00B59E3C90D7}" type="presOf" srcId="{96461464-2553-497B-AB02-AC4B9B5DD0B2}" destId="{C4A578BE-5C8F-4B89-BF24-53B4D200D0F6}" srcOrd="0" destOrd="0" presId="urn:microsoft.com/office/officeart/2008/layout/LinedList"/>
    <dgm:cxn modelId="{BB71D2EB-93A5-4A9A-BF36-96DDE074A6F4}" srcId="{F81860E6-71FF-4C5A-8B6F-00D5343A9FBF}" destId="{B1B12812-60F5-4788-B8E5-CE1D4BF3241E}" srcOrd="2" destOrd="0" parTransId="{7AD8B80F-A269-4CB3-AB05-693F6005A695}" sibTransId="{14733203-43C8-421C-B40E-7A058E00A7C9}"/>
    <dgm:cxn modelId="{C069A6BD-F0EA-4E14-8EF4-3732E5673285}" srcId="{F81860E6-71FF-4C5A-8B6F-00D5343A9FBF}" destId="{96461464-2553-497B-AB02-AC4B9B5DD0B2}" srcOrd="3" destOrd="0" parTransId="{F977137E-E046-4B43-9C1F-99E08D5C44BF}" sibTransId="{36006EB9-5057-45AC-86FB-ACA35E6DF4D1}"/>
    <dgm:cxn modelId="{5C84638D-E989-4356-AC73-2517AF76DF1E}" type="presOf" srcId="{F81860E6-71FF-4C5A-8B6F-00D5343A9FBF}" destId="{5225345D-BF87-4E32-BA5B-965D766AA67C}" srcOrd="0" destOrd="0" presId="urn:microsoft.com/office/officeart/2008/layout/LinedList"/>
    <dgm:cxn modelId="{043C5777-F597-47D8-95A8-8818B0DDB99A}" type="presOf" srcId="{88B7B8DD-E3FC-4651-B4BA-A60267B9D696}" destId="{53EA6DF0-BCB8-4A60-8D4E-42F1ECB93DC7}" srcOrd="0" destOrd="0" presId="urn:microsoft.com/office/officeart/2008/layout/LinedList"/>
    <dgm:cxn modelId="{C3726486-7332-4AE8-BD14-7E96300C7CC0}" type="presOf" srcId="{E1A69B60-1FC7-4464-85FA-AA6296C5C8E2}" destId="{619AC560-B718-4D08-9998-14707DB6A9AA}" srcOrd="0" destOrd="0" presId="urn:microsoft.com/office/officeart/2008/layout/LinedList"/>
    <dgm:cxn modelId="{DE27D4A6-E1A7-448E-A52F-9256C6619EA2}" type="presOf" srcId="{B1B12812-60F5-4788-B8E5-CE1D4BF3241E}" destId="{42B6D06C-CEC1-41E7-AA11-071FACAF840B}" srcOrd="0" destOrd="0" presId="urn:microsoft.com/office/officeart/2008/layout/LinedList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BC69001C-7817-41D9-BE69-ED0445126705}" type="presOf" srcId="{30F526AA-F05B-485D-81B6-8DE0BE85B3ED}" destId="{A068DEF3-F54D-4E90-BE3F-C3F66D6411DF}" srcOrd="0" destOrd="0" presId="urn:microsoft.com/office/officeart/2008/layout/LinedList"/>
    <dgm:cxn modelId="{9D5B37F5-732B-4189-BBF0-C649E580E7C3}" type="presOf" srcId="{EE301C1D-F021-49A2-B603-10676C1CA9CF}" destId="{E60C540A-D306-47B6-BD22-E22612CA3888}" srcOrd="0" destOrd="0" presId="urn:microsoft.com/office/officeart/2008/layout/LinedList"/>
    <dgm:cxn modelId="{F5DFE6DC-EE46-4F12-A9F8-0CB85B2B0CC5}" srcId="{F81860E6-71FF-4C5A-8B6F-00D5343A9FBF}" destId="{88B7B8DD-E3FC-4651-B4BA-A60267B9D696}" srcOrd="5" destOrd="0" parTransId="{9455AAD8-39ED-4643-84ED-C4AA5A7476FA}" sibTransId="{C0E23B8D-5F61-4E6C-9FF8-6BEC6B5FFC1D}"/>
    <dgm:cxn modelId="{B983610A-A085-4C05-A1B7-BDD8A99BB0DA}" srcId="{F81860E6-71FF-4C5A-8B6F-00D5343A9FBF}" destId="{E1A69B60-1FC7-4464-85FA-AA6296C5C8E2}" srcOrd="1" destOrd="0" parTransId="{A3ACE6E3-B88C-43A2-B844-C05A9828E075}" sibTransId="{A40BC905-06A5-4422-AEEF-C2E053EE59F7}"/>
    <dgm:cxn modelId="{6A324105-1B8D-4B6D-ADEB-6F92EC573A39}" srcId="{F81860E6-71FF-4C5A-8B6F-00D5343A9FBF}" destId="{30F526AA-F05B-485D-81B6-8DE0BE85B3ED}" srcOrd="4" destOrd="0" parTransId="{4A1BE4EB-2D98-4E41-994D-D642A837A077}" sibTransId="{EB3F8F69-96DB-40DF-B3AD-D111F263AAD3}"/>
    <dgm:cxn modelId="{2044C84D-196B-46E0-88ED-9CE027439643}" type="presParOf" srcId="{E60C540A-D306-47B6-BD22-E22612CA3888}" destId="{866EAC21-317C-4717-B1A9-C57165E78D08}" srcOrd="0" destOrd="0" presId="urn:microsoft.com/office/officeart/2008/layout/LinedList"/>
    <dgm:cxn modelId="{54BA3E33-76C5-4EF3-A18A-54FEA54443A7}" type="presParOf" srcId="{E60C540A-D306-47B6-BD22-E22612CA3888}" destId="{2AE480D4-D481-4C3D-99AF-9B374F12667E}" srcOrd="1" destOrd="0" presId="urn:microsoft.com/office/officeart/2008/layout/LinedList"/>
    <dgm:cxn modelId="{33DDF889-997A-4916-BFB4-ED2BB5E7BC95}" type="presParOf" srcId="{2AE480D4-D481-4C3D-99AF-9B374F12667E}" destId="{5225345D-BF87-4E32-BA5B-965D766AA67C}" srcOrd="0" destOrd="0" presId="urn:microsoft.com/office/officeart/2008/layout/LinedList"/>
    <dgm:cxn modelId="{6ACA7FE8-EF0D-4933-80BC-7DD6AAD6B1DA}" type="presParOf" srcId="{2AE480D4-D481-4C3D-99AF-9B374F12667E}" destId="{D3B5484A-D819-4735-AF41-F4F7CA1AAE21}" srcOrd="1" destOrd="0" presId="urn:microsoft.com/office/officeart/2008/layout/LinedList"/>
    <dgm:cxn modelId="{6581E25F-F407-4D88-9941-35B0EF0FEC44}" type="presParOf" srcId="{D3B5484A-D819-4735-AF41-F4F7CA1AAE21}" destId="{BB299944-788E-43EE-97C5-D9483E2C2521}" srcOrd="0" destOrd="0" presId="urn:microsoft.com/office/officeart/2008/layout/LinedList"/>
    <dgm:cxn modelId="{68291269-60CF-4BC3-8F8B-9A28B078403C}" type="presParOf" srcId="{D3B5484A-D819-4735-AF41-F4F7CA1AAE21}" destId="{54F91C5E-8A10-403D-AE81-DFCD7B0C4B44}" srcOrd="1" destOrd="0" presId="urn:microsoft.com/office/officeart/2008/layout/LinedList"/>
    <dgm:cxn modelId="{862A52D5-65DB-42FC-8EF2-992A70BD2AF2}" type="presParOf" srcId="{54F91C5E-8A10-403D-AE81-DFCD7B0C4B44}" destId="{AD0EFFB5-2B43-4C58-BD05-B08A7B6022E8}" srcOrd="0" destOrd="0" presId="urn:microsoft.com/office/officeart/2008/layout/LinedList"/>
    <dgm:cxn modelId="{2B21B887-B06B-4219-BB8B-1F1CEEA4CA13}" type="presParOf" srcId="{54F91C5E-8A10-403D-AE81-DFCD7B0C4B44}" destId="{3B6E5102-FD33-4C65-BCF3-2610902F9C76}" srcOrd="1" destOrd="0" presId="urn:microsoft.com/office/officeart/2008/layout/LinedList"/>
    <dgm:cxn modelId="{D4C12FFC-7FEE-433E-AD94-85A5969B301D}" type="presParOf" srcId="{54F91C5E-8A10-403D-AE81-DFCD7B0C4B44}" destId="{7C0BEA80-32CB-436D-A50D-3C41A4912E5E}" srcOrd="2" destOrd="0" presId="urn:microsoft.com/office/officeart/2008/layout/LinedList"/>
    <dgm:cxn modelId="{BFAC70D2-A0D1-43C6-9CCC-FF25E2BFD063}" type="presParOf" srcId="{D3B5484A-D819-4735-AF41-F4F7CA1AAE21}" destId="{CDB3CD81-4606-4C4A-8971-785341FB88EF}" srcOrd="2" destOrd="0" presId="urn:microsoft.com/office/officeart/2008/layout/LinedList"/>
    <dgm:cxn modelId="{0CCC9B6E-F32A-4918-8A14-8F2B3F84635B}" type="presParOf" srcId="{D3B5484A-D819-4735-AF41-F4F7CA1AAE21}" destId="{786E0252-347B-40A1-A810-31E4F43B4971}" srcOrd="3" destOrd="0" presId="urn:microsoft.com/office/officeart/2008/layout/LinedList"/>
    <dgm:cxn modelId="{46A70F6B-3E68-45A9-B0BE-0B29C805C077}" type="presParOf" srcId="{D3B5484A-D819-4735-AF41-F4F7CA1AAE21}" destId="{A075D402-50BC-4E02-84A3-7905DC1A75CC}" srcOrd="4" destOrd="0" presId="urn:microsoft.com/office/officeart/2008/layout/LinedList"/>
    <dgm:cxn modelId="{F6E1118F-7AAE-4498-AD69-31C1276787D0}" type="presParOf" srcId="{A075D402-50BC-4E02-84A3-7905DC1A75CC}" destId="{B6DDD66B-833A-450B-B8C7-127471404CB9}" srcOrd="0" destOrd="0" presId="urn:microsoft.com/office/officeart/2008/layout/LinedList"/>
    <dgm:cxn modelId="{0BE3F187-F673-4360-A1E7-D15D063CE33C}" type="presParOf" srcId="{A075D402-50BC-4E02-84A3-7905DC1A75CC}" destId="{619AC560-B718-4D08-9998-14707DB6A9AA}" srcOrd="1" destOrd="0" presId="urn:microsoft.com/office/officeart/2008/layout/LinedList"/>
    <dgm:cxn modelId="{D37CE435-ACC9-43CD-AC19-A015EE76607B}" type="presParOf" srcId="{A075D402-50BC-4E02-84A3-7905DC1A75CC}" destId="{87ABDE50-DC7C-4CE7-9A89-27AAADC29590}" srcOrd="2" destOrd="0" presId="urn:microsoft.com/office/officeart/2008/layout/LinedList"/>
    <dgm:cxn modelId="{FC89FE56-D5B1-4572-A9B6-73C9EEF6D9C0}" type="presParOf" srcId="{D3B5484A-D819-4735-AF41-F4F7CA1AAE21}" destId="{C4BDBEF8-7618-4E9D-8887-AC02EB7C1CE3}" srcOrd="5" destOrd="0" presId="urn:microsoft.com/office/officeart/2008/layout/LinedList"/>
    <dgm:cxn modelId="{45F025EE-1FAF-407E-AF87-7D27FF9CDB5E}" type="presParOf" srcId="{D3B5484A-D819-4735-AF41-F4F7CA1AAE21}" destId="{8E4FC99E-3EF4-40E5-A21D-4861C2E33ACE}" srcOrd="6" destOrd="0" presId="urn:microsoft.com/office/officeart/2008/layout/LinedList"/>
    <dgm:cxn modelId="{94C51603-3032-4022-9EA6-AEF50DA41239}" type="presParOf" srcId="{D3B5484A-D819-4735-AF41-F4F7CA1AAE21}" destId="{BC52BB96-FE9C-4B96-B7F5-F81DF680A4A3}" srcOrd="7" destOrd="0" presId="urn:microsoft.com/office/officeart/2008/layout/LinedList"/>
    <dgm:cxn modelId="{1C0997C6-BA57-4E2A-B8C1-74765B8F7F35}" type="presParOf" srcId="{BC52BB96-FE9C-4B96-B7F5-F81DF680A4A3}" destId="{56054727-F47A-49F3-A300-2394872475B8}" srcOrd="0" destOrd="0" presId="urn:microsoft.com/office/officeart/2008/layout/LinedList"/>
    <dgm:cxn modelId="{EAEEAC48-7726-4A43-9286-7EDEC449BF5B}" type="presParOf" srcId="{BC52BB96-FE9C-4B96-B7F5-F81DF680A4A3}" destId="{42B6D06C-CEC1-41E7-AA11-071FACAF840B}" srcOrd="1" destOrd="0" presId="urn:microsoft.com/office/officeart/2008/layout/LinedList"/>
    <dgm:cxn modelId="{77F33590-3B68-4983-A2A1-C82745EBA7B8}" type="presParOf" srcId="{BC52BB96-FE9C-4B96-B7F5-F81DF680A4A3}" destId="{BBD759A9-8DE1-4DFC-A9C5-746C54BEA96B}" srcOrd="2" destOrd="0" presId="urn:microsoft.com/office/officeart/2008/layout/LinedList"/>
    <dgm:cxn modelId="{2DDF1672-1F28-4690-870B-3CFF5004E606}" type="presParOf" srcId="{D3B5484A-D819-4735-AF41-F4F7CA1AAE21}" destId="{A529F6CF-5CC1-4442-AD0F-D7BCBA3054E7}" srcOrd="8" destOrd="0" presId="urn:microsoft.com/office/officeart/2008/layout/LinedList"/>
    <dgm:cxn modelId="{A0CC21E4-3A4C-49AF-A721-07F31A4397C3}" type="presParOf" srcId="{D3B5484A-D819-4735-AF41-F4F7CA1AAE21}" destId="{03A594B2-837C-4002-854C-9863E22DFCBF}" srcOrd="9" destOrd="0" presId="urn:microsoft.com/office/officeart/2008/layout/LinedList"/>
    <dgm:cxn modelId="{23729FCB-6FBE-452F-B2DC-5B5D586B44F9}" type="presParOf" srcId="{D3B5484A-D819-4735-AF41-F4F7CA1AAE21}" destId="{6DAE63F4-1D5A-46E4-AB51-4811761884FB}" srcOrd="10" destOrd="0" presId="urn:microsoft.com/office/officeart/2008/layout/LinedList"/>
    <dgm:cxn modelId="{ED2A2F44-E869-47FF-8575-23E716D6D891}" type="presParOf" srcId="{6DAE63F4-1D5A-46E4-AB51-4811761884FB}" destId="{C0F45E8A-7E0C-4E38-A019-F6A449AAEE8A}" srcOrd="0" destOrd="0" presId="urn:microsoft.com/office/officeart/2008/layout/LinedList"/>
    <dgm:cxn modelId="{E966F8FF-91EF-48A7-8105-DA4DC7E210CF}" type="presParOf" srcId="{6DAE63F4-1D5A-46E4-AB51-4811761884FB}" destId="{C4A578BE-5C8F-4B89-BF24-53B4D200D0F6}" srcOrd="1" destOrd="0" presId="urn:microsoft.com/office/officeart/2008/layout/LinedList"/>
    <dgm:cxn modelId="{A864D8C5-CEB5-4969-B3B8-87EBD6B5AE83}" type="presParOf" srcId="{6DAE63F4-1D5A-46E4-AB51-4811761884FB}" destId="{9B8A0032-291E-4BA9-AFE7-B6E1C9123022}" srcOrd="2" destOrd="0" presId="urn:microsoft.com/office/officeart/2008/layout/LinedList"/>
    <dgm:cxn modelId="{2A608122-2BFC-4E75-9034-03203C6A0F96}" type="presParOf" srcId="{D3B5484A-D819-4735-AF41-F4F7CA1AAE21}" destId="{C8E6B7CB-2828-4F61-8E67-47315A9A1F2C}" srcOrd="11" destOrd="0" presId="urn:microsoft.com/office/officeart/2008/layout/LinedList"/>
    <dgm:cxn modelId="{6109C369-27CE-4F5D-8B1E-A420B0CD11B5}" type="presParOf" srcId="{D3B5484A-D819-4735-AF41-F4F7CA1AAE21}" destId="{0098DB8E-B7A4-4FFA-9E76-D71765900A87}" srcOrd="12" destOrd="0" presId="urn:microsoft.com/office/officeart/2008/layout/LinedList"/>
    <dgm:cxn modelId="{F0CB0492-9224-45FF-BE69-AB78CA128AE8}" type="presParOf" srcId="{D3B5484A-D819-4735-AF41-F4F7CA1AAE21}" destId="{A83892FB-0940-49A9-8F0E-C0CDC6802998}" srcOrd="13" destOrd="0" presId="urn:microsoft.com/office/officeart/2008/layout/LinedList"/>
    <dgm:cxn modelId="{964BE89A-F8DE-4CA2-99DC-B15C7E73CA68}" type="presParOf" srcId="{A83892FB-0940-49A9-8F0E-C0CDC6802998}" destId="{303CDD23-6038-4965-BB6D-362212556EBE}" srcOrd="0" destOrd="0" presId="urn:microsoft.com/office/officeart/2008/layout/LinedList"/>
    <dgm:cxn modelId="{1AFD3A38-8B16-41D1-B562-D10837725668}" type="presParOf" srcId="{A83892FB-0940-49A9-8F0E-C0CDC6802998}" destId="{A068DEF3-F54D-4E90-BE3F-C3F66D6411DF}" srcOrd="1" destOrd="0" presId="urn:microsoft.com/office/officeart/2008/layout/LinedList"/>
    <dgm:cxn modelId="{E501304D-5D39-41F8-8B80-A710C4909F4C}" type="presParOf" srcId="{A83892FB-0940-49A9-8F0E-C0CDC6802998}" destId="{079B47BD-DAE6-4BD3-8E3E-5C3A80A38238}" srcOrd="2" destOrd="0" presId="urn:microsoft.com/office/officeart/2008/layout/LinedList"/>
    <dgm:cxn modelId="{265A0648-8179-4EC3-8307-0BA997A9B9A1}" type="presParOf" srcId="{D3B5484A-D819-4735-AF41-F4F7CA1AAE21}" destId="{C5AD2466-F089-45AC-8633-DC296C75F1E0}" srcOrd="14" destOrd="0" presId="urn:microsoft.com/office/officeart/2008/layout/LinedList"/>
    <dgm:cxn modelId="{8FA6F44F-40AC-488D-8CD4-AA3493AC17C3}" type="presParOf" srcId="{D3B5484A-D819-4735-AF41-F4F7CA1AAE21}" destId="{865A2E86-A8C3-43C1-BF9A-D10DBC17E7DE}" srcOrd="15" destOrd="0" presId="urn:microsoft.com/office/officeart/2008/layout/LinedList"/>
    <dgm:cxn modelId="{6D5A1627-6143-4085-AEEE-C1AA4D235BB2}" type="presParOf" srcId="{D3B5484A-D819-4735-AF41-F4F7CA1AAE21}" destId="{86968CF7-F480-43DB-ABFF-0FF70FAB4E71}" srcOrd="16" destOrd="0" presId="urn:microsoft.com/office/officeart/2008/layout/LinedList"/>
    <dgm:cxn modelId="{22EE2FCE-05B0-48C6-AD1B-E7D52E292B6A}" type="presParOf" srcId="{86968CF7-F480-43DB-ABFF-0FF70FAB4E71}" destId="{9CF5EF3F-BB9D-4FDE-8020-51FE6FAF1FE7}" srcOrd="0" destOrd="0" presId="urn:microsoft.com/office/officeart/2008/layout/LinedList"/>
    <dgm:cxn modelId="{ACBA692B-48B3-4CE8-B4B5-DBB8E7872C61}" type="presParOf" srcId="{86968CF7-F480-43DB-ABFF-0FF70FAB4E71}" destId="{53EA6DF0-BCB8-4A60-8D4E-42F1ECB93DC7}" srcOrd="1" destOrd="0" presId="urn:microsoft.com/office/officeart/2008/layout/LinedList"/>
    <dgm:cxn modelId="{11D8F213-0B5D-4D7C-8EA8-C3D6ADB1AE98}" type="presParOf" srcId="{86968CF7-F480-43DB-ABFF-0FF70FAB4E71}" destId="{F99D4DB9-38AD-471D-BB12-DCD830A901D8}" srcOrd="2" destOrd="0" presId="urn:microsoft.com/office/officeart/2008/layout/LinedList"/>
    <dgm:cxn modelId="{675E1848-6E0C-4DF0-8194-0CA66720B1F3}" type="presParOf" srcId="{D3B5484A-D819-4735-AF41-F4F7CA1AAE21}" destId="{B494F67B-B036-4A48-8EBE-22DAD2245DAE}" srcOrd="17" destOrd="0" presId="urn:microsoft.com/office/officeart/2008/layout/LinedList"/>
    <dgm:cxn modelId="{75CEAE65-6585-4749-A8F4-DF27013B481A}" type="presParOf" srcId="{D3B5484A-D819-4735-AF41-F4F7CA1AAE21}" destId="{3EEA0C93-8E89-41FE-9C0E-1E709BA2D249}" srcOrd="1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F81860E6-71FF-4C5A-8B6F-00D5343A9FBF}">
      <dgm:prSet phldrT="[Tekst]" custT="1"/>
      <dgm:spPr/>
      <dgm:t>
        <a:bodyPr/>
        <a:lstStyle/>
        <a:p>
          <a:pPr algn="l"/>
          <a:r>
            <a:rPr lang="hr-HR" sz="2000" b="1" dirty="0" smtClean="0"/>
            <a:t>HOPS</a:t>
          </a:r>
          <a:endParaRPr lang="hr-HR" sz="2000" b="1" dirty="0"/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 sz="1300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 sz="1300"/>
        </a:p>
      </dgm:t>
    </dgm:pt>
    <dgm:pt modelId="{A0682142-CCC4-431E-9CAE-F34F449F517C}">
      <dgm:prSet phldrT="[Tekst]" custT="1"/>
      <dgm:spPr/>
      <dgm:t>
        <a:bodyPr/>
        <a:lstStyle/>
        <a:p>
          <a:pPr algn="l"/>
          <a:r>
            <a:rPr lang="hr-HR" sz="1300" dirty="0" smtClean="0"/>
            <a:t>Izraditi prijedlog metodologije/pravilnika za nabavu i pružanje pomoćnih usluga</a:t>
          </a:r>
          <a:endParaRPr lang="hr-HR" sz="1300" dirty="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 sz="1300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 sz="1300"/>
        </a:p>
      </dgm:t>
    </dgm:pt>
    <dgm:pt modelId="{808457C1-2CF6-47BB-BBB0-57BC67EBED9D}">
      <dgm:prSet custT="1"/>
      <dgm:spPr/>
      <dgm:t>
        <a:bodyPr/>
        <a:lstStyle/>
        <a:p>
          <a:r>
            <a:rPr lang="hr-HR" sz="1300" dirty="0" smtClean="0"/>
            <a:t>Uvesti i provesti sustav obračuna troškova pomoćnih usluga i pružateljima tih usluga nadoknaditi troškove</a:t>
          </a:r>
          <a:endParaRPr lang="hr-HR" sz="1300" dirty="0"/>
        </a:p>
      </dgm:t>
    </dgm:pt>
    <dgm:pt modelId="{0F22EC13-41FF-4800-AECA-CCD953A3BB4D}" type="parTrans" cxnId="{BD8D23C9-48A9-4E28-887A-5D4DF26F8D27}">
      <dgm:prSet/>
      <dgm:spPr/>
      <dgm:t>
        <a:bodyPr/>
        <a:lstStyle/>
        <a:p>
          <a:endParaRPr lang="hr-HR" sz="1300"/>
        </a:p>
      </dgm:t>
    </dgm:pt>
    <dgm:pt modelId="{49AEC7E7-70EB-4746-B506-5861A5B5E7B4}" type="sibTrans" cxnId="{BD8D23C9-48A9-4E28-887A-5D4DF26F8D27}">
      <dgm:prSet/>
      <dgm:spPr/>
      <dgm:t>
        <a:bodyPr/>
        <a:lstStyle/>
        <a:p>
          <a:endParaRPr lang="hr-HR" sz="1300"/>
        </a:p>
      </dgm:t>
    </dgm:pt>
    <dgm:pt modelId="{98A249CB-3AE0-459A-AAFF-CFC5743A37CA}">
      <dgm:prSet custT="1"/>
      <dgm:spPr/>
      <dgm:t>
        <a:bodyPr/>
        <a:lstStyle/>
        <a:p>
          <a:r>
            <a:rPr lang="hr-HR" sz="1300" dirty="0" smtClean="0"/>
            <a:t>Ukinuti  uvedenu mjeru definiranja kvote za VE (kvotu definirati kroz Tarifni sustav)</a:t>
          </a:r>
          <a:endParaRPr lang="hr-HR" sz="1300" dirty="0"/>
        </a:p>
      </dgm:t>
    </dgm:pt>
    <dgm:pt modelId="{DF24AF5C-1908-49AE-9EC1-1D623A4C13A1}" type="parTrans" cxnId="{02064600-9405-4B1C-BB8D-B542B07148E6}">
      <dgm:prSet/>
      <dgm:spPr/>
      <dgm:t>
        <a:bodyPr/>
        <a:lstStyle/>
        <a:p>
          <a:endParaRPr lang="hr-HR" sz="1300"/>
        </a:p>
      </dgm:t>
    </dgm:pt>
    <dgm:pt modelId="{70AD1C42-5F93-4F6C-89C0-154207A0A8A3}" type="sibTrans" cxnId="{02064600-9405-4B1C-BB8D-B542B07148E6}">
      <dgm:prSet/>
      <dgm:spPr/>
      <dgm:t>
        <a:bodyPr/>
        <a:lstStyle/>
        <a:p>
          <a:endParaRPr lang="hr-HR" sz="1300"/>
        </a:p>
      </dgm:t>
    </dgm:pt>
    <dgm:pt modelId="{9100EFCA-522A-4590-8CE4-AF0B9C6EA888}">
      <dgm:prSet custT="1"/>
      <dgm:spPr/>
      <dgm:t>
        <a:bodyPr/>
        <a:lstStyle/>
        <a:p>
          <a:r>
            <a:rPr lang="hr-HR" sz="2000" b="1" dirty="0" smtClean="0"/>
            <a:t>HEP d.d.</a:t>
          </a:r>
          <a:endParaRPr lang="hr-HR" sz="2000" b="1" dirty="0"/>
        </a:p>
      </dgm:t>
    </dgm:pt>
    <dgm:pt modelId="{C5428436-FC0A-4721-A1F2-20EFB0D7B133}" type="parTrans" cxnId="{4EC412E1-6FFD-4172-9B02-1C64FA406CC5}">
      <dgm:prSet/>
      <dgm:spPr/>
      <dgm:t>
        <a:bodyPr/>
        <a:lstStyle/>
        <a:p>
          <a:endParaRPr lang="hr-HR"/>
        </a:p>
      </dgm:t>
    </dgm:pt>
    <dgm:pt modelId="{5F21DF10-CD3B-4671-9522-BD60F5658CB3}" type="sibTrans" cxnId="{4EC412E1-6FFD-4172-9B02-1C64FA406CC5}">
      <dgm:prSet/>
      <dgm:spPr/>
      <dgm:t>
        <a:bodyPr/>
        <a:lstStyle/>
        <a:p>
          <a:endParaRPr lang="hr-HR"/>
        </a:p>
      </dgm:t>
    </dgm:pt>
    <dgm:pt modelId="{CB4DC199-70B1-467B-BC9F-6139CFB3C991}">
      <dgm:prSet custT="1"/>
      <dgm:spPr/>
      <dgm:t>
        <a:bodyPr/>
        <a:lstStyle/>
        <a:p>
          <a:r>
            <a:rPr lang="hr-HR" sz="1300" dirty="0" smtClean="0"/>
            <a:t>Značajno povećati raspon (opseg) rezerve snage za regulaciju uvođenjem novih objekata u sustav regulacije (HE </a:t>
          </a:r>
          <a:r>
            <a:rPr lang="hr-HR" sz="1300" dirty="0" err="1" smtClean="0"/>
            <a:t>Orlovac</a:t>
          </a:r>
          <a:r>
            <a:rPr lang="hr-HR" sz="1300" dirty="0" smtClean="0"/>
            <a:t>, HE Dubrovnik 1 i RHE Velebit, kao i pojedine TE, odnosno KTE)koji bi za tu uslugu dobili odgovarajuću naknadu </a:t>
          </a:r>
          <a:endParaRPr lang="hr-HR" sz="1300" dirty="0"/>
        </a:p>
      </dgm:t>
    </dgm:pt>
    <dgm:pt modelId="{1A0540EF-2D80-4FFB-AB4D-4A36CF6C7322}" type="parTrans" cxnId="{0F6039C7-8456-4AA5-BE9E-95C9CF12349B}">
      <dgm:prSet/>
      <dgm:spPr/>
      <dgm:t>
        <a:bodyPr/>
        <a:lstStyle/>
        <a:p>
          <a:endParaRPr lang="hr-HR"/>
        </a:p>
      </dgm:t>
    </dgm:pt>
    <dgm:pt modelId="{88845C7F-8562-4BF4-A94C-55EA574663F3}" type="sibTrans" cxnId="{0F6039C7-8456-4AA5-BE9E-95C9CF12349B}">
      <dgm:prSet/>
      <dgm:spPr/>
      <dgm:t>
        <a:bodyPr/>
        <a:lstStyle/>
        <a:p>
          <a:endParaRPr lang="hr-HR"/>
        </a:p>
      </dgm:t>
    </dgm:pt>
    <dgm:pt modelId="{3214F674-59CC-4148-B1D2-30D785DC47D1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BF542A9E-2925-489E-900E-F9235F484C39}" type="pres">
      <dgm:prSet presAssocID="{F81860E6-71FF-4C5A-8B6F-00D5343A9FBF}" presName="thickLine" presStyleLbl="alignNode1" presStyleIdx="0" presStyleCnt="2"/>
      <dgm:spPr/>
    </dgm:pt>
    <dgm:pt modelId="{BEC94478-8C83-441A-AB29-B2F55D128A2D}" type="pres">
      <dgm:prSet presAssocID="{F81860E6-71FF-4C5A-8B6F-00D5343A9FBF}" presName="horz1" presStyleCnt="0"/>
      <dgm:spPr/>
    </dgm:pt>
    <dgm:pt modelId="{6F936B51-6B0F-4121-A1EB-B15930E3FF82}" type="pres">
      <dgm:prSet presAssocID="{F81860E6-71FF-4C5A-8B6F-00D5343A9FBF}" presName="tx1" presStyleLbl="revTx" presStyleIdx="0" presStyleCnt="6"/>
      <dgm:spPr/>
      <dgm:t>
        <a:bodyPr/>
        <a:lstStyle/>
        <a:p>
          <a:endParaRPr lang="hr-HR"/>
        </a:p>
      </dgm:t>
    </dgm:pt>
    <dgm:pt modelId="{78345C66-B7D4-4B2E-80CE-6528E5F391E4}" type="pres">
      <dgm:prSet presAssocID="{F81860E6-71FF-4C5A-8B6F-00D5343A9FBF}" presName="vert1" presStyleCnt="0"/>
      <dgm:spPr/>
    </dgm:pt>
    <dgm:pt modelId="{0D71192C-D393-430B-8F1D-0596D734705F}" type="pres">
      <dgm:prSet presAssocID="{A0682142-CCC4-431E-9CAE-F34F449F517C}" presName="vertSpace2a" presStyleCnt="0"/>
      <dgm:spPr/>
    </dgm:pt>
    <dgm:pt modelId="{5AECB427-165C-4975-872F-7DE15A619B60}" type="pres">
      <dgm:prSet presAssocID="{A0682142-CCC4-431E-9CAE-F34F449F517C}" presName="horz2" presStyleCnt="0"/>
      <dgm:spPr/>
    </dgm:pt>
    <dgm:pt modelId="{09CB311A-45DC-4F14-86D9-26CCF36512F5}" type="pres">
      <dgm:prSet presAssocID="{A0682142-CCC4-431E-9CAE-F34F449F517C}" presName="horzSpace2" presStyleCnt="0"/>
      <dgm:spPr/>
    </dgm:pt>
    <dgm:pt modelId="{3CD24643-0E29-416D-8E41-937DD5837B07}" type="pres">
      <dgm:prSet presAssocID="{A0682142-CCC4-431E-9CAE-F34F449F517C}" presName="tx2" presStyleLbl="revTx" presStyleIdx="1" presStyleCnt="6"/>
      <dgm:spPr/>
      <dgm:t>
        <a:bodyPr/>
        <a:lstStyle/>
        <a:p>
          <a:endParaRPr lang="hr-HR"/>
        </a:p>
      </dgm:t>
    </dgm:pt>
    <dgm:pt modelId="{756E0584-5069-49FE-9180-E1CC9FD58163}" type="pres">
      <dgm:prSet presAssocID="{A0682142-CCC4-431E-9CAE-F34F449F517C}" presName="vert2" presStyleCnt="0"/>
      <dgm:spPr/>
    </dgm:pt>
    <dgm:pt modelId="{922B819E-71BD-4C55-9980-00F3FA7D9F32}" type="pres">
      <dgm:prSet presAssocID="{A0682142-CCC4-431E-9CAE-F34F449F517C}" presName="thinLine2b" presStyleLbl="callout" presStyleIdx="0" presStyleCnt="4"/>
      <dgm:spPr/>
    </dgm:pt>
    <dgm:pt modelId="{E7582B6A-0292-4DC7-B33F-EBCCD0294A6B}" type="pres">
      <dgm:prSet presAssocID="{A0682142-CCC4-431E-9CAE-F34F449F517C}" presName="vertSpace2b" presStyleCnt="0"/>
      <dgm:spPr/>
    </dgm:pt>
    <dgm:pt modelId="{4D8ECE95-953E-4DD9-B26D-93871BF42A5F}" type="pres">
      <dgm:prSet presAssocID="{808457C1-2CF6-47BB-BBB0-57BC67EBED9D}" presName="horz2" presStyleCnt="0"/>
      <dgm:spPr/>
    </dgm:pt>
    <dgm:pt modelId="{75460C39-5780-475C-95FE-7642B36F1C41}" type="pres">
      <dgm:prSet presAssocID="{808457C1-2CF6-47BB-BBB0-57BC67EBED9D}" presName="horzSpace2" presStyleCnt="0"/>
      <dgm:spPr/>
    </dgm:pt>
    <dgm:pt modelId="{59CC830B-B6BF-452D-8995-A978AAE55CF0}" type="pres">
      <dgm:prSet presAssocID="{808457C1-2CF6-47BB-BBB0-57BC67EBED9D}" presName="tx2" presStyleLbl="revTx" presStyleIdx="2" presStyleCnt="6" custScaleY="154742"/>
      <dgm:spPr/>
      <dgm:t>
        <a:bodyPr/>
        <a:lstStyle/>
        <a:p>
          <a:endParaRPr lang="hr-HR"/>
        </a:p>
      </dgm:t>
    </dgm:pt>
    <dgm:pt modelId="{0150A034-C461-4BB7-A389-8CE0EDBF22C9}" type="pres">
      <dgm:prSet presAssocID="{808457C1-2CF6-47BB-BBB0-57BC67EBED9D}" presName="vert2" presStyleCnt="0"/>
      <dgm:spPr/>
    </dgm:pt>
    <dgm:pt modelId="{AD387840-07AA-4307-A329-653599D1F490}" type="pres">
      <dgm:prSet presAssocID="{808457C1-2CF6-47BB-BBB0-57BC67EBED9D}" presName="thinLine2b" presStyleLbl="callout" presStyleIdx="1" presStyleCnt="4"/>
      <dgm:spPr/>
    </dgm:pt>
    <dgm:pt modelId="{6B2C7F8B-C809-49E8-ABAF-E84074B8CBCA}" type="pres">
      <dgm:prSet presAssocID="{808457C1-2CF6-47BB-BBB0-57BC67EBED9D}" presName="vertSpace2b" presStyleCnt="0"/>
      <dgm:spPr/>
    </dgm:pt>
    <dgm:pt modelId="{EE9AF290-D297-42E8-8D1C-A7AFB345B09A}" type="pres">
      <dgm:prSet presAssocID="{98A249CB-3AE0-459A-AAFF-CFC5743A37CA}" presName="horz2" presStyleCnt="0"/>
      <dgm:spPr/>
    </dgm:pt>
    <dgm:pt modelId="{B748C3CF-DDE6-4768-B041-BA98DC058D06}" type="pres">
      <dgm:prSet presAssocID="{98A249CB-3AE0-459A-AAFF-CFC5743A37CA}" presName="horzSpace2" presStyleCnt="0"/>
      <dgm:spPr/>
    </dgm:pt>
    <dgm:pt modelId="{1C2EFB77-657F-4F22-BC85-106F0E333A83}" type="pres">
      <dgm:prSet presAssocID="{98A249CB-3AE0-459A-AAFF-CFC5743A37CA}" presName="tx2" presStyleLbl="revTx" presStyleIdx="3" presStyleCnt="6"/>
      <dgm:spPr/>
      <dgm:t>
        <a:bodyPr/>
        <a:lstStyle/>
        <a:p>
          <a:endParaRPr lang="hr-HR"/>
        </a:p>
      </dgm:t>
    </dgm:pt>
    <dgm:pt modelId="{913B13AA-3F63-45EC-AA19-E5A4F32A5A1F}" type="pres">
      <dgm:prSet presAssocID="{98A249CB-3AE0-459A-AAFF-CFC5743A37CA}" presName="vert2" presStyleCnt="0"/>
      <dgm:spPr/>
    </dgm:pt>
    <dgm:pt modelId="{A9577503-5E8E-4F9B-8912-4D4CC3E8CF50}" type="pres">
      <dgm:prSet presAssocID="{98A249CB-3AE0-459A-AAFF-CFC5743A37CA}" presName="thinLine2b" presStyleLbl="callout" presStyleIdx="2" presStyleCnt="4"/>
      <dgm:spPr/>
    </dgm:pt>
    <dgm:pt modelId="{B194A591-9B7A-4485-9958-CBFCF0C66D1C}" type="pres">
      <dgm:prSet presAssocID="{98A249CB-3AE0-459A-AAFF-CFC5743A37CA}" presName="vertSpace2b" presStyleCnt="0"/>
      <dgm:spPr/>
    </dgm:pt>
    <dgm:pt modelId="{F935CA9E-7918-49BD-9FF7-0966EA2A3610}" type="pres">
      <dgm:prSet presAssocID="{9100EFCA-522A-4590-8CE4-AF0B9C6EA888}" presName="thickLine" presStyleLbl="alignNode1" presStyleIdx="1" presStyleCnt="2"/>
      <dgm:spPr/>
    </dgm:pt>
    <dgm:pt modelId="{BD5781E8-13A4-41C7-95F6-32327CC6556C}" type="pres">
      <dgm:prSet presAssocID="{9100EFCA-522A-4590-8CE4-AF0B9C6EA888}" presName="horz1" presStyleCnt="0"/>
      <dgm:spPr/>
    </dgm:pt>
    <dgm:pt modelId="{A536DAAE-E800-48A4-9E49-EA54B3FB5591}" type="pres">
      <dgm:prSet presAssocID="{9100EFCA-522A-4590-8CE4-AF0B9C6EA888}" presName="tx1" presStyleLbl="revTx" presStyleIdx="4" presStyleCnt="6"/>
      <dgm:spPr/>
      <dgm:t>
        <a:bodyPr/>
        <a:lstStyle/>
        <a:p>
          <a:endParaRPr lang="hr-HR"/>
        </a:p>
      </dgm:t>
    </dgm:pt>
    <dgm:pt modelId="{10E73DAA-5660-4BFC-957E-293E78296211}" type="pres">
      <dgm:prSet presAssocID="{9100EFCA-522A-4590-8CE4-AF0B9C6EA888}" presName="vert1" presStyleCnt="0"/>
      <dgm:spPr/>
    </dgm:pt>
    <dgm:pt modelId="{6810D649-8912-4C5D-8A9F-B200E3EAE1F4}" type="pres">
      <dgm:prSet presAssocID="{CB4DC199-70B1-467B-BC9F-6139CFB3C991}" presName="vertSpace2a" presStyleCnt="0"/>
      <dgm:spPr/>
    </dgm:pt>
    <dgm:pt modelId="{7997D293-1FDD-4941-BEE1-E186350908ED}" type="pres">
      <dgm:prSet presAssocID="{CB4DC199-70B1-467B-BC9F-6139CFB3C991}" presName="horz2" presStyleCnt="0"/>
      <dgm:spPr/>
    </dgm:pt>
    <dgm:pt modelId="{2B87AB06-D86E-44C2-9CAA-CDE7F18CD381}" type="pres">
      <dgm:prSet presAssocID="{CB4DC199-70B1-467B-BC9F-6139CFB3C991}" presName="horzSpace2" presStyleCnt="0"/>
      <dgm:spPr/>
    </dgm:pt>
    <dgm:pt modelId="{00A1AA18-74EE-4B2D-BC1D-93742616C6B9}" type="pres">
      <dgm:prSet presAssocID="{CB4DC199-70B1-467B-BC9F-6139CFB3C991}" presName="tx2" presStyleLbl="revTx" presStyleIdx="5" presStyleCnt="6" custScaleY="86635"/>
      <dgm:spPr/>
      <dgm:t>
        <a:bodyPr/>
        <a:lstStyle/>
        <a:p>
          <a:endParaRPr lang="hr-HR"/>
        </a:p>
      </dgm:t>
    </dgm:pt>
    <dgm:pt modelId="{C761FB63-BE6A-42F1-9E45-41BF4548FA4E}" type="pres">
      <dgm:prSet presAssocID="{CB4DC199-70B1-467B-BC9F-6139CFB3C991}" presName="vert2" presStyleCnt="0"/>
      <dgm:spPr/>
    </dgm:pt>
    <dgm:pt modelId="{980612CD-E12C-49DE-A7C8-5F646DE06F1B}" type="pres">
      <dgm:prSet presAssocID="{CB4DC199-70B1-467B-BC9F-6139CFB3C991}" presName="thinLine2b" presStyleLbl="callout" presStyleIdx="3" presStyleCnt="4"/>
      <dgm:spPr/>
    </dgm:pt>
    <dgm:pt modelId="{4799E9BE-249A-4EB6-A997-AD747D1B2C0B}" type="pres">
      <dgm:prSet presAssocID="{CB4DC199-70B1-467B-BC9F-6139CFB3C991}" presName="vertSpace2b" presStyleCnt="0"/>
      <dgm:spPr/>
    </dgm:pt>
  </dgm:ptLst>
  <dgm:cxnLst>
    <dgm:cxn modelId="{4EC412E1-6FFD-4172-9B02-1C64FA406CC5}" srcId="{EE301C1D-F021-49A2-B603-10676C1CA9CF}" destId="{9100EFCA-522A-4590-8CE4-AF0B9C6EA888}" srcOrd="1" destOrd="0" parTransId="{C5428436-FC0A-4721-A1F2-20EFB0D7B133}" sibTransId="{5F21DF10-CD3B-4671-9522-BD60F5658CB3}"/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A67BAC97-7B6B-4697-BEE6-D96BA4295DA3}" type="presOf" srcId="{F81860E6-71FF-4C5A-8B6F-00D5343A9FBF}" destId="{6F936B51-6B0F-4121-A1EB-B15930E3FF82}" srcOrd="0" destOrd="0" presId="urn:microsoft.com/office/officeart/2008/layout/LinedList"/>
    <dgm:cxn modelId="{BD8D23C9-48A9-4E28-887A-5D4DF26F8D27}" srcId="{F81860E6-71FF-4C5A-8B6F-00D5343A9FBF}" destId="{808457C1-2CF6-47BB-BBB0-57BC67EBED9D}" srcOrd="1" destOrd="0" parTransId="{0F22EC13-41FF-4800-AECA-CCD953A3BB4D}" sibTransId="{49AEC7E7-70EB-4746-B506-5861A5B5E7B4}"/>
    <dgm:cxn modelId="{DBEFE9F4-B153-476D-A1D6-861FB8E0AFB0}" type="presOf" srcId="{98A249CB-3AE0-459A-AAFF-CFC5743A37CA}" destId="{1C2EFB77-657F-4F22-BC85-106F0E333A83}" srcOrd="0" destOrd="0" presId="urn:microsoft.com/office/officeart/2008/layout/LinedList"/>
    <dgm:cxn modelId="{0F6039C7-8456-4AA5-BE9E-95C9CF12349B}" srcId="{9100EFCA-522A-4590-8CE4-AF0B9C6EA888}" destId="{CB4DC199-70B1-467B-BC9F-6139CFB3C991}" srcOrd="0" destOrd="0" parTransId="{1A0540EF-2D80-4FFB-AB4D-4A36CF6C7322}" sibTransId="{88845C7F-8562-4BF4-A94C-55EA574663F3}"/>
    <dgm:cxn modelId="{71CE3ABB-670C-4C80-902C-A5A5910992B4}" type="presOf" srcId="{9100EFCA-522A-4590-8CE4-AF0B9C6EA888}" destId="{A536DAAE-E800-48A4-9E49-EA54B3FB5591}" srcOrd="0" destOrd="0" presId="urn:microsoft.com/office/officeart/2008/layout/LinedList"/>
    <dgm:cxn modelId="{5B1F701B-24C6-4274-941C-B1FA2623BCE6}" type="presOf" srcId="{808457C1-2CF6-47BB-BBB0-57BC67EBED9D}" destId="{59CC830B-B6BF-452D-8995-A978AAE55CF0}" srcOrd="0" destOrd="0" presId="urn:microsoft.com/office/officeart/2008/layout/LinedList"/>
    <dgm:cxn modelId="{02064600-9405-4B1C-BB8D-B542B07148E6}" srcId="{F81860E6-71FF-4C5A-8B6F-00D5343A9FBF}" destId="{98A249CB-3AE0-459A-AAFF-CFC5743A37CA}" srcOrd="2" destOrd="0" parTransId="{DF24AF5C-1908-49AE-9EC1-1D623A4C13A1}" sibTransId="{70AD1C42-5F93-4F6C-89C0-154207A0A8A3}"/>
    <dgm:cxn modelId="{09A30700-12B7-4B9F-85B6-692F130B0E96}" type="presOf" srcId="{A0682142-CCC4-431E-9CAE-F34F449F517C}" destId="{3CD24643-0E29-416D-8E41-937DD5837B07}" srcOrd="0" destOrd="0" presId="urn:microsoft.com/office/officeart/2008/layout/LinedList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4CE04D01-3493-4719-9C72-C97B195EAD9A}" type="presOf" srcId="{CB4DC199-70B1-467B-BC9F-6139CFB3C991}" destId="{00A1AA18-74EE-4B2D-BC1D-93742616C6B9}" srcOrd="0" destOrd="0" presId="urn:microsoft.com/office/officeart/2008/layout/LinedList"/>
    <dgm:cxn modelId="{A155D23C-C7BA-4E53-9F5F-9D2C495D6DD0}" type="presOf" srcId="{EE301C1D-F021-49A2-B603-10676C1CA9CF}" destId="{3214F674-59CC-4148-B1D2-30D785DC47D1}" srcOrd="0" destOrd="0" presId="urn:microsoft.com/office/officeart/2008/layout/LinedList"/>
    <dgm:cxn modelId="{BFF43350-14ED-4581-8041-17A13F164BBA}" type="presParOf" srcId="{3214F674-59CC-4148-B1D2-30D785DC47D1}" destId="{BF542A9E-2925-489E-900E-F9235F484C39}" srcOrd="0" destOrd="0" presId="urn:microsoft.com/office/officeart/2008/layout/LinedList"/>
    <dgm:cxn modelId="{B94710B9-9C69-4583-B75E-8E00BEEA6577}" type="presParOf" srcId="{3214F674-59CC-4148-B1D2-30D785DC47D1}" destId="{BEC94478-8C83-441A-AB29-B2F55D128A2D}" srcOrd="1" destOrd="0" presId="urn:microsoft.com/office/officeart/2008/layout/LinedList"/>
    <dgm:cxn modelId="{280B9E84-6E3C-409A-B945-4563CEC0345F}" type="presParOf" srcId="{BEC94478-8C83-441A-AB29-B2F55D128A2D}" destId="{6F936B51-6B0F-4121-A1EB-B15930E3FF82}" srcOrd="0" destOrd="0" presId="urn:microsoft.com/office/officeart/2008/layout/LinedList"/>
    <dgm:cxn modelId="{48EF0C5A-4A76-4A2E-9DC3-4BD672F3C483}" type="presParOf" srcId="{BEC94478-8C83-441A-AB29-B2F55D128A2D}" destId="{78345C66-B7D4-4B2E-80CE-6528E5F391E4}" srcOrd="1" destOrd="0" presId="urn:microsoft.com/office/officeart/2008/layout/LinedList"/>
    <dgm:cxn modelId="{8C8513B5-6647-4936-8D12-2DDFD32DD16B}" type="presParOf" srcId="{78345C66-B7D4-4B2E-80CE-6528E5F391E4}" destId="{0D71192C-D393-430B-8F1D-0596D734705F}" srcOrd="0" destOrd="0" presId="urn:microsoft.com/office/officeart/2008/layout/LinedList"/>
    <dgm:cxn modelId="{5E191E8E-F376-4377-B1FB-B9061E1A9380}" type="presParOf" srcId="{78345C66-B7D4-4B2E-80CE-6528E5F391E4}" destId="{5AECB427-165C-4975-872F-7DE15A619B60}" srcOrd="1" destOrd="0" presId="urn:microsoft.com/office/officeart/2008/layout/LinedList"/>
    <dgm:cxn modelId="{5EF56ECD-B173-442D-BDE3-17EF65E39AB6}" type="presParOf" srcId="{5AECB427-165C-4975-872F-7DE15A619B60}" destId="{09CB311A-45DC-4F14-86D9-26CCF36512F5}" srcOrd="0" destOrd="0" presId="urn:microsoft.com/office/officeart/2008/layout/LinedList"/>
    <dgm:cxn modelId="{13C730B4-7705-42FE-8234-617DAAF7AD37}" type="presParOf" srcId="{5AECB427-165C-4975-872F-7DE15A619B60}" destId="{3CD24643-0E29-416D-8E41-937DD5837B07}" srcOrd="1" destOrd="0" presId="urn:microsoft.com/office/officeart/2008/layout/LinedList"/>
    <dgm:cxn modelId="{999D4739-AE19-4512-B64A-AB0646409E23}" type="presParOf" srcId="{5AECB427-165C-4975-872F-7DE15A619B60}" destId="{756E0584-5069-49FE-9180-E1CC9FD58163}" srcOrd="2" destOrd="0" presId="urn:microsoft.com/office/officeart/2008/layout/LinedList"/>
    <dgm:cxn modelId="{E9FE7F3F-1776-41FB-B0FF-434CFEC72827}" type="presParOf" srcId="{78345C66-B7D4-4B2E-80CE-6528E5F391E4}" destId="{922B819E-71BD-4C55-9980-00F3FA7D9F32}" srcOrd="2" destOrd="0" presId="urn:microsoft.com/office/officeart/2008/layout/LinedList"/>
    <dgm:cxn modelId="{62ABCF6F-DCF7-44E8-B521-CCE9B9788445}" type="presParOf" srcId="{78345C66-B7D4-4B2E-80CE-6528E5F391E4}" destId="{E7582B6A-0292-4DC7-B33F-EBCCD0294A6B}" srcOrd="3" destOrd="0" presId="urn:microsoft.com/office/officeart/2008/layout/LinedList"/>
    <dgm:cxn modelId="{E15B2AC7-7663-438D-9E13-E27AEE610F92}" type="presParOf" srcId="{78345C66-B7D4-4B2E-80CE-6528E5F391E4}" destId="{4D8ECE95-953E-4DD9-B26D-93871BF42A5F}" srcOrd="4" destOrd="0" presId="urn:microsoft.com/office/officeart/2008/layout/LinedList"/>
    <dgm:cxn modelId="{D4554D04-19E5-4CD4-8F7C-BCC19A0A97D9}" type="presParOf" srcId="{4D8ECE95-953E-4DD9-B26D-93871BF42A5F}" destId="{75460C39-5780-475C-95FE-7642B36F1C41}" srcOrd="0" destOrd="0" presId="urn:microsoft.com/office/officeart/2008/layout/LinedList"/>
    <dgm:cxn modelId="{63F92C08-CC47-4D63-B2D7-C4AE0C9BD72C}" type="presParOf" srcId="{4D8ECE95-953E-4DD9-B26D-93871BF42A5F}" destId="{59CC830B-B6BF-452D-8995-A978AAE55CF0}" srcOrd="1" destOrd="0" presId="urn:microsoft.com/office/officeart/2008/layout/LinedList"/>
    <dgm:cxn modelId="{7AC027AA-BB11-428D-BD40-939002A17B34}" type="presParOf" srcId="{4D8ECE95-953E-4DD9-B26D-93871BF42A5F}" destId="{0150A034-C461-4BB7-A389-8CE0EDBF22C9}" srcOrd="2" destOrd="0" presId="urn:microsoft.com/office/officeart/2008/layout/LinedList"/>
    <dgm:cxn modelId="{3450FE83-7221-4A18-96E1-8F0D33CA06CE}" type="presParOf" srcId="{78345C66-B7D4-4B2E-80CE-6528E5F391E4}" destId="{AD387840-07AA-4307-A329-653599D1F490}" srcOrd="5" destOrd="0" presId="urn:microsoft.com/office/officeart/2008/layout/LinedList"/>
    <dgm:cxn modelId="{D7BF647D-3DBF-4AF1-971A-A616C1ECA803}" type="presParOf" srcId="{78345C66-B7D4-4B2E-80CE-6528E5F391E4}" destId="{6B2C7F8B-C809-49E8-ABAF-E84074B8CBCA}" srcOrd="6" destOrd="0" presId="urn:microsoft.com/office/officeart/2008/layout/LinedList"/>
    <dgm:cxn modelId="{34C349DB-5021-4F94-8D6A-4154A8055B27}" type="presParOf" srcId="{78345C66-B7D4-4B2E-80CE-6528E5F391E4}" destId="{EE9AF290-D297-42E8-8D1C-A7AFB345B09A}" srcOrd="7" destOrd="0" presId="urn:microsoft.com/office/officeart/2008/layout/LinedList"/>
    <dgm:cxn modelId="{B066CF1E-FFEB-46E4-AA58-77785EAD714E}" type="presParOf" srcId="{EE9AF290-D297-42E8-8D1C-A7AFB345B09A}" destId="{B748C3CF-DDE6-4768-B041-BA98DC058D06}" srcOrd="0" destOrd="0" presId="urn:microsoft.com/office/officeart/2008/layout/LinedList"/>
    <dgm:cxn modelId="{DF77740D-13E6-4D5F-AEA9-24A64F6D3BD9}" type="presParOf" srcId="{EE9AF290-D297-42E8-8D1C-A7AFB345B09A}" destId="{1C2EFB77-657F-4F22-BC85-106F0E333A83}" srcOrd="1" destOrd="0" presId="urn:microsoft.com/office/officeart/2008/layout/LinedList"/>
    <dgm:cxn modelId="{F1325B56-98FF-4867-B78F-9CF9AA6F0D07}" type="presParOf" srcId="{EE9AF290-D297-42E8-8D1C-A7AFB345B09A}" destId="{913B13AA-3F63-45EC-AA19-E5A4F32A5A1F}" srcOrd="2" destOrd="0" presId="urn:microsoft.com/office/officeart/2008/layout/LinedList"/>
    <dgm:cxn modelId="{28969FAC-4413-4252-921C-8E4E4B3BB21A}" type="presParOf" srcId="{78345C66-B7D4-4B2E-80CE-6528E5F391E4}" destId="{A9577503-5E8E-4F9B-8912-4D4CC3E8CF50}" srcOrd="8" destOrd="0" presId="urn:microsoft.com/office/officeart/2008/layout/LinedList"/>
    <dgm:cxn modelId="{1C0673F8-41E3-4012-8072-35A9FC918FF9}" type="presParOf" srcId="{78345C66-B7D4-4B2E-80CE-6528E5F391E4}" destId="{B194A591-9B7A-4485-9958-CBFCF0C66D1C}" srcOrd="9" destOrd="0" presId="urn:microsoft.com/office/officeart/2008/layout/LinedList"/>
    <dgm:cxn modelId="{871DB6C5-86D1-414A-9A78-375EE598466D}" type="presParOf" srcId="{3214F674-59CC-4148-B1D2-30D785DC47D1}" destId="{F935CA9E-7918-49BD-9FF7-0966EA2A3610}" srcOrd="2" destOrd="0" presId="urn:microsoft.com/office/officeart/2008/layout/LinedList"/>
    <dgm:cxn modelId="{8034E859-034B-4D12-96C6-34814F24EEE8}" type="presParOf" srcId="{3214F674-59CC-4148-B1D2-30D785DC47D1}" destId="{BD5781E8-13A4-41C7-95F6-32327CC6556C}" srcOrd="3" destOrd="0" presId="urn:microsoft.com/office/officeart/2008/layout/LinedList"/>
    <dgm:cxn modelId="{19F1A418-DA9F-457B-9749-F983DF6A186F}" type="presParOf" srcId="{BD5781E8-13A4-41C7-95F6-32327CC6556C}" destId="{A536DAAE-E800-48A4-9E49-EA54B3FB5591}" srcOrd="0" destOrd="0" presId="urn:microsoft.com/office/officeart/2008/layout/LinedList"/>
    <dgm:cxn modelId="{361708EC-FE3C-4775-9533-07CC2EC0C9ED}" type="presParOf" srcId="{BD5781E8-13A4-41C7-95F6-32327CC6556C}" destId="{10E73DAA-5660-4BFC-957E-293E78296211}" srcOrd="1" destOrd="0" presId="urn:microsoft.com/office/officeart/2008/layout/LinedList"/>
    <dgm:cxn modelId="{08D44463-9E55-4AED-86CD-FF812643C653}" type="presParOf" srcId="{10E73DAA-5660-4BFC-957E-293E78296211}" destId="{6810D649-8912-4C5D-8A9F-B200E3EAE1F4}" srcOrd="0" destOrd="0" presId="urn:microsoft.com/office/officeart/2008/layout/LinedList"/>
    <dgm:cxn modelId="{E3C8D705-A614-42AF-B39E-C438E1F12BA8}" type="presParOf" srcId="{10E73DAA-5660-4BFC-957E-293E78296211}" destId="{7997D293-1FDD-4941-BEE1-E186350908ED}" srcOrd="1" destOrd="0" presId="urn:microsoft.com/office/officeart/2008/layout/LinedList"/>
    <dgm:cxn modelId="{5D60371A-B625-4C79-A392-E510F8206D7B}" type="presParOf" srcId="{7997D293-1FDD-4941-BEE1-E186350908ED}" destId="{2B87AB06-D86E-44C2-9CAA-CDE7F18CD381}" srcOrd="0" destOrd="0" presId="urn:microsoft.com/office/officeart/2008/layout/LinedList"/>
    <dgm:cxn modelId="{2EF67579-A4EC-4117-BC69-E2A3E89F54AF}" type="presParOf" srcId="{7997D293-1FDD-4941-BEE1-E186350908ED}" destId="{00A1AA18-74EE-4B2D-BC1D-93742616C6B9}" srcOrd="1" destOrd="0" presId="urn:microsoft.com/office/officeart/2008/layout/LinedList"/>
    <dgm:cxn modelId="{387AD7EA-DB88-4CEC-AF1F-CAAB82C7924D}" type="presParOf" srcId="{7997D293-1FDD-4941-BEE1-E186350908ED}" destId="{C761FB63-BE6A-42F1-9E45-41BF4548FA4E}" srcOrd="2" destOrd="0" presId="urn:microsoft.com/office/officeart/2008/layout/LinedList"/>
    <dgm:cxn modelId="{55625E32-AF7A-4607-8467-429817F11495}" type="presParOf" srcId="{10E73DAA-5660-4BFC-957E-293E78296211}" destId="{980612CD-E12C-49DE-A7C8-5F646DE06F1B}" srcOrd="2" destOrd="0" presId="urn:microsoft.com/office/officeart/2008/layout/LinedList"/>
    <dgm:cxn modelId="{6FA50EEC-64EF-440F-A21F-46C1EA5D958C}" type="presParOf" srcId="{10E73DAA-5660-4BFC-957E-293E78296211}" destId="{4799E9BE-249A-4EB6-A997-AD747D1B2C0B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E301C1D-F021-49A2-B603-10676C1CA9CF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5D7863FD-AB37-4609-9973-EB60C2671761}">
      <dgm:prSet custT="1"/>
      <dgm:spPr/>
      <dgm:t>
        <a:bodyPr/>
        <a:lstStyle/>
        <a:p>
          <a:r>
            <a:rPr lang="hr-HR" sz="2000" b="1" dirty="0" smtClean="0"/>
            <a:t>HROTE </a:t>
          </a:r>
          <a:endParaRPr lang="hr-HR" sz="2000" b="1" dirty="0"/>
        </a:p>
      </dgm:t>
    </dgm:pt>
    <dgm:pt modelId="{8EC17906-63CE-4EB5-90B4-945C951E1B65}" type="parTrans" cxnId="{E208D58D-E5DD-458B-8FD4-4D9623DB7CB6}">
      <dgm:prSet/>
      <dgm:spPr/>
      <dgm:t>
        <a:bodyPr/>
        <a:lstStyle/>
        <a:p>
          <a:endParaRPr lang="hr-HR"/>
        </a:p>
      </dgm:t>
    </dgm:pt>
    <dgm:pt modelId="{25568545-C30A-4662-A63C-F84B0CC1A623}" type="sibTrans" cxnId="{E208D58D-E5DD-458B-8FD4-4D9623DB7CB6}">
      <dgm:prSet/>
      <dgm:spPr/>
      <dgm:t>
        <a:bodyPr/>
        <a:lstStyle/>
        <a:p>
          <a:endParaRPr lang="hr-HR"/>
        </a:p>
      </dgm:t>
    </dgm:pt>
    <dgm:pt modelId="{9530ED7E-A839-4E3F-8C8C-9607E2E32618}">
      <dgm:prSet custT="1"/>
      <dgm:spPr/>
      <dgm:t>
        <a:bodyPr/>
        <a:lstStyle/>
        <a:p>
          <a:r>
            <a:rPr lang="hr-HR" sz="1300" dirty="0" smtClean="0"/>
            <a:t>razmotriti formiranje bilančne grupe svih OIE koji dostavljaju zajednički raspored proizvodnje u cilju bolje organizacije tržišnog plana te odgovarajuće doraditi Tržišna pravila.</a:t>
          </a:r>
          <a:endParaRPr lang="hr-HR" sz="1300" dirty="0"/>
        </a:p>
      </dgm:t>
    </dgm:pt>
    <dgm:pt modelId="{3DEB9DFB-8446-4E9F-B102-CF0898C5D644}" type="parTrans" cxnId="{D15E6D45-E1AA-46F0-8316-009FA291DD47}">
      <dgm:prSet/>
      <dgm:spPr/>
      <dgm:t>
        <a:bodyPr/>
        <a:lstStyle/>
        <a:p>
          <a:endParaRPr lang="hr-HR"/>
        </a:p>
      </dgm:t>
    </dgm:pt>
    <dgm:pt modelId="{6A22B022-AB70-47AB-A30F-4123A548496F}" type="sibTrans" cxnId="{D15E6D45-E1AA-46F0-8316-009FA291DD47}">
      <dgm:prSet/>
      <dgm:spPr/>
      <dgm:t>
        <a:bodyPr/>
        <a:lstStyle/>
        <a:p>
          <a:endParaRPr lang="hr-HR"/>
        </a:p>
      </dgm:t>
    </dgm:pt>
    <dgm:pt modelId="{BA8A04F6-7599-4EE1-A383-B63024011728}">
      <dgm:prSet custT="1"/>
      <dgm:spPr/>
      <dgm:t>
        <a:bodyPr/>
        <a:lstStyle/>
        <a:p>
          <a:r>
            <a:rPr lang="hr-HR" sz="1300" dirty="0" smtClean="0"/>
            <a:t>Uvesti burzu električne energije sa ravnopravnim sudjelovanjem proizvođača el. energije iz OIE u trgovini i tržištu el. energijom . Uvesti unutar dnevno uravnoteženje-predviđanje proizvodnje iz OIE.</a:t>
          </a:r>
          <a:endParaRPr lang="hr-HR" sz="1300" dirty="0"/>
        </a:p>
      </dgm:t>
    </dgm:pt>
    <dgm:pt modelId="{86401BBC-5F42-4578-BD6A-637E99E6650A}" type="parTrans" cxnId="{DAED885E-5D3F-4443-A91F-9A3B4BBEA478}">
      <dgm:prSet/>
      <dgm:spPr/>
      <dgm:t>
        <a:bodyPr/>
        <a:lstStyle/>
        <a:p>
          <a:endParaRPr lang="hr-HR"/>
        </a:p>
      </dgm:t>
    </dgm:pt>
    <dgm:pt modelId="{D51FBDB8-DAD9-4ACC-9131-E7FD572A9D81}" type="sibTrans" cxnId="{DAED885E-5D3F-4443-A91F-9A3B4BBEA478}">
      <dgm:prSet/>
      <dgm:spPr/>
      <dgm:t>
        <a:bodyPr/>
        <a:lstStyle/>
        <a:p>
          <a:endParaRPr lang="hr-HR"/>
        </a:p>
      </dgm:t>
    </dgm:pt>
    <dgm:pt modelId="{436B9D08-9900-4FBF-943F-7537A26339FD}">
      <dgm:prSet custT="1"/>
      <dgm:spPr/>
      <dgm:t>
        <a:bodyPr/>
        <a:lstStyle/>
        <a:p>
          <a:r>
            <a:rPr lang="hr-HR" sz="1300" dirty="0" smtClean="0"/>
            <a:t>Izvršiti nadzor nad provedbom Tarifnog sustava sukladno zakonskoj obvezi</a:t>
          </a:r>
          <a:endParaRPr lang="hr-HR" sz="1300" dirty="0"/>
        </a:p>
      </dgm:t>
    </dgm:pt>
    <dgm:pt modelId="{61B7CA4A-BCAA-49F9-8060-D1260FC5165B}">
      <dgm:prSet custT="1"/>
      <dgm:spPr/>
      <dgm:t>
        <a:bodyPr/>
        <a:lstStyle/>
        <a:p>
          <a:r>
            <a:rPr lang="hr-HR" sz="1300" dirty="0" smtClean="0"/>
            <a:t>Osigurati </a:t>
          </a:r>
          <a:r>
            <a:rPr lang="hr-HR" sz="1300" dirty="0" err="1" smtClean="0"/>
            <a:t>HOPSu</a:t>
          </a:r>
          <a:r>
            <a:rPr lang="hr-HR" sz="1300" dirty="0" smtClean="0"/>
            <a:t> dovoljna sredstava za nabavu pomoćnih usluga,</a:t>
          </a:r>
          <a:endParaRPr lang="hr-HR" sz="1300" dirty="0"/>
        </a:p>
      </dgm:t>
    </dgm:pt>
    <dgm:pt modelId="{A0682142-CCC4-431E-9CAE-F34F449F517C}">
      <dgm:prSet phldrT="[Tekst]" custT="1"/>
      <dgm:spPr/>
      <dgm:t>
        <a:bodyPr/>
        <a:lstStyle/>
        <a:p>
          <a:pPr algn="l"/>
          <a:r>
            <a:rPr lang="hr-HR" sz="1300" dirty="0" smtClean="0"/>
            <a:t>Odobriti metodologiju/ pravilnika za nabavu i pružanje pomoćnih usluga</a:t>
          </a:r>
          <a:endParaRPr lang="hr-HR" sz="1300" dirty="0"/>
        </a:p>
      </dgm:t>
    </dgm:pt>
    <dgm:pt modelId="{F81860E6-71FF-4C5A-8B6F-00D5343A9FBF}">
      <dgm:prSet phldrT="[Tekst]" custT="1"/>
      <dgm:spPr/>
      <dgm:t>
        <a:bodyPr/>
        <a:lstStyle/>
        <a:p>
          <a:pPr algn="l"/>
          <a:r>
            <a:rPr lang="hr-HR" sz="2000" b="1" dirty="0" smtClean="0"/>
            <a:t>HERA</a:t>
          </a:r>
          <a:endParaRPr lang="hr-HR" sz="2000" b="1" dirty="0"/>
        </a:p>
      </dgm:t>
    </dgm:pt>
    <dgm:pt modelId="{942E4965-C2AB-4CAF-B319-D1F193EB5193}" type="sibTrans" cxnId="{2446B383-8BDE-440D-B1C0-0E8E95C2EBAA}">
      <dgm:prSet/>
      <dgm:spPr/>
      <dgm:t>
        <a:bodyPr/>
        <a:lstStyle/>
        <a:p>
          <a:endParaRPr lang="hr-HR" sz="1300"/>
        </a:p>
      </dgm:t>
    </dgm:pt>
    <dgm:pt modelId="{5E0E9495-40C9-4AE1-86CD-031B8C2D0803}" type="parTrans" cxnId="{2446B383-8BDE-440D-B1C0-0E8E95C2EBAA}">
      <dgm:prSet/>
      <dgm:spPr/>
      <dgm:t>
        <a:bodyPr/>
        <a:lstStyle/>
        <a:p>
          <a:endParaRPr lang="hr-HR" sz="1300"/>
        </a:p>
      </dgm:t>
    </dgm:pt>
    <dgm:pt modelId="{0D4F0630-4090-484D-B393-3E18AFAC2598}" type="sibTrans" cxnId="{AFCA0E78-0722-447F-8966-3D1B3AF4E8C4}">
      <dgm:prSet/>
      <dgm:spPr/>
      <dgm:t>
        <a:bodyPr/>
        <a:lstStyle/>
        <a:p>
          <a:endParaRPr lang="hr-HR" sz="1300"/>
        </a:p>
      </dgm:t>
    </dgm:pt>
    <dgm:pt modelId="{BABD670D-8194-481A-80F1-E8AE51881FA0}" type="parTrans" cxnId="{AFCA0E78-0722-447F-8966-3D1B3AF4E8C4}">
      <dgm:prSet/>
      <dgm:spPr/>
      <dgm:t>
        <a:bodyPr/>
        <a:lstStyle/>
        <a:p>
          <a:endParaRPr lang="hr-HR" sz="1300"/>
        </a:p>
      </dgm:t>
    </dgm:pt>
    <dgm:pt modelId="{025BFF0B-9255-4E71-8EFE-1E87139C370B}" type="sibTrans" cxnId="{A2CCA5E6-9D58-4F59-8E6F-000974D4F98E}">
      <dgm:prSet/>
      <dgm:spPr/>
      <dgm:t>
        <a:bodyPr/>
        <a:lstStyle/>
        <a:p>
          <a:endParaRPr lang="hr-HR" sz="1300"/>
        </a:p>
      </dgm:t>
    </dgm:pt>
    <dgm:pt modelId="{475730EA-7ACA-4AD8-813A-DBCB117C8142}" type="parTrans" cxnId="{A2CCA5E6-9D58-4F59-8E6F-000974D4F98E}">
      <dgm:prSet/>
      <dgm:spPr/>
      <dgm:t>
        <a:bodyPr/>
        <a:lstStyle/>
        <a:p>
          <a:endParaRPr lang="hr-HR" sz="1300"/>
        </a:p>
      </dgm:t>
    </dgm:pt>
    <dgm:pt modelId="{30023D07-BF05-4598-BA2B-3B6B6673EEAB}" type="sibTrans" cxnId="{300DCE9C-5844-4B99-B775-24C9089BB320}">
      <dgm:prSet/>
      <dgm:spPr/>
      <dgm:t>
        <a:bodyPr/>
        <a:lstStyle/>
        <a:p>
          <a:endParaRPr lang="hr-HR" sz="1300"/>
        </a:p>
      </dgm:t>
    </dgm:pt>
    <dgm:pt modelId="{DD8958C9-CC14-4805-AD7F-5FE7E3230356}" type="parTrans" cxnId="{300DCE9C-5844-4B99-B775-24C9089BB320}">
      <dgm:prSet/>
      <dgm:spPr/>
      <dgm:t>
        <a:bodyPr/>
        <a:lstStyle/>
        <a:p>
          <a:endParaRPr lang="hr-HR" sz="1300"/>
        </a:p>
      </dgm:t>
    </dgm:pt>
    <dgm:pt modelId="{DC1ECE1F-3455-4ADB-906C-9EEB89EE01CF}" type="pres">
      <dgm:prSet presAssocID="{EE301C1D-F021-49A2-B603-10676C1CA9C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hr-HR"/>
        </a:p>
      </dgm:t>
    </dgm:pt>
    <dgm:pt modelId="{82F30125-86A4-48F9-B9EE-C182689C6708}" type="pres">
      <dgm:prSet presAssocID="{F81860E6-71FF-4C5A-8B6F-00D5343A9FBF}" presName="thickLine" presStyleLbl="alignNode1" presStyleIdx="0" presStyleCnt="2" custLinFactNeighborY="-9976"/>
      <dgm:spPr/>
    </dgm:pt>
    <dgm:pt modelId="{305FAA43-99E4-40B4-868E-AB40534A788F}" type="pres">
      <dgm:prSet presAssocID="{F81860E6-71FF-4C5A-8B6F-00D5343A9FBF}" presName="horz1" presStyleCnt="0"/>
      <dgm:spPr/>
    </dgm:pt>
    <dgm:pt modelId="{6C4D1C1A-1527-4A0D-8B3A-92753E5A62C1}" type="pres">
      <dgm:prSet presAssocID="{F81860E6-71FF-4C5A-8B6F-00D5343A9FBF}" presName="tx1" presStyleLbl="revTx" presStyleIdx="0" presStyleCnt="7"/>
      <dgm:spPr/>
      <dgm:t>
        <a:bodyPr/>
        <a:lstStyle/>
        <a:p>
          <a:endParaRPr lang="hr-HR"/>
        </a:p>
      </dgm:t>
    </dgm:pt>
    <dgm:pt modelId="{16FC0FA2-8A53-4071-9AC9-BC76F6E2FC59}" type="pres">
      <dgm:prSet presAssocID="{F81860E6-71FF-4C5A-8B6F-00D5343A9FBF}" presName="vert1" presStyleCnt="0"/>
      <dgm:spPr/>
    </dgm:pt>
    <dgm:pt modelId="{9D89C3DD-B5C2-4B40-83DD-E6A5ADD1A656}" type="pres">
      <dgm:prSet presAssocID="{A0682142-CCC4-431E-9CAE-F34F449F517C}" presName="vertSpace2a" presStyleCnt="0"/>
      <dgm:spPr/>
    </dgm:pt>
    <dgm:pt modelId="{29338978-47A3-401F-B699-BD19C6D90BBC}" type="pres">
      <dgm:prSet presAssocID="{A0682142-CCC4-431E-9CAE-F34F449F517C}" presName="horz2" presStyleCnt="0"/>
      <dgm:spPr/>
    </dgm:pt>
    <dgm:pt modelId="{9118F82B-3311-4F11-8916-BB65F7F2DD2D}" type="pres">
      <dgm:prSet presAssocID="{A0682142-CCC4-431E-9CAE-F34F449F517C}" presName="horzSpace2" presStyleCnt="0"/>
      <dgm:spPr/>
    </dgm:pt>
    <dgm:pt modelId="{8C63EBE2-F487-4EB9-9119-AD19CE0B0BF2}" type="pres">
      <dgm:prSet presAssocID="{A0682142-CCC4-431E-9CAE-F34F449F517C}" presName="tx2" presStyleLbl="revTx" presStyleIdx="1" presStyleCnt="7"/>
      <dgm:spPr/>
      <dgm:t>
        <a:bodyPr/>
        <a:lstStyle/>
        <a:p>
          <a:endParaRPr lang="hr-HR"/>
        </a:p>
      </dgm:t>
    </dgm:pt>
    <dgm:pt modelId="{AD106E20-EF36-4725-A3FE-359560F7CC9B}" type="pres">
      <dgm:prSet presAssocID="{A0682142-CCC4-431E-9CAE-F34F449F517C}" presName="vert2" presStyleCnt="0"/>
      <dgm:spPr/>
    </dgm:pt>
    <dgm:pt modelId="{6C724915-17BC-4534-B9E5-24E0BA5BDBA4}" type="pres">
      <dgm:prSet presAssocID="{A0682142-CCC4-431E-9CAE-F34F449F517C}" presName="thinLine2b" presStyleLbl="callout" presStyleIdx="0" presStyleCnt="5"/>
      <dgm:spPr/>
    </dgm:pt>
    <dgm:pt modelId="{47A70572-9009-4DB6-9142-71A753A74699}" type="pres">
      <dgm:prSet presAssocID="{A0682142-CCC4-431E-9CAE-F34F449F517C}" presName="vertSpace2b" presStyleCnt="0"/>
      <dgm:spPr/>
    </dgm:pt>
    <dgm:pt modelId="{7FAFA52E-96CA-4E84-ACF4-69D882E9DEF8}" type="pres">
      <dgm:prSet presAssocID="{61B7CA4A-BCAA-49F9-8060-D1260FC5165B}" presName="horz2" presStyleCnt="0"/>
      <dgm:spPr/>
    </dgm:pt>
    <dgm:pt modelId="{35BD2EF5-A984-4C7A-8E95-DFDCB3B1AEA3}" type="pres">
      <dgm:prSet presAssocID="{61B7CA4A-BCAA-49F9-8060-D1260FC5165B}" presName="horzSpace2" presStyleCnt="0"/>
      <dgm:spPr/>
    </dgm:pt>
    <dgm:pt modelId="{B6A9AE9F-42C6-4215-85B8-532EEC37701A}" type="pres">
      <dgm:prSet presAssocID="{61B7CA4A-BCAA-49F9-8060-D1260FC5165B}" presName="tx2" presStyleLbl="revTx" presStyleIdx="2" presStyleCnt="7"/>
      <dgm:spPr/>
      <dgm:t>
        <a:bodyPr/>
        <a:lstStyle/>
        <a:p>
          <a:endParaRPr lang="hr-HR"/>
        </a:p>
      </dgm:t>
    </dgm:pt>
    <dgm:pt modelId="{391ADF38-8E7C-4E3A-B1CC-C69CF6209B7E}" type="pres">
      <dgm:prSet presAssocID="{61B7CA4A-BCAA-49F9-8060-D1260FC5165B}" presName="vert2" presStyleCnt="0"/>
      <dgm:spPr/>
    </dgm:pt>
    <dgm:pt modelId="{367186C9-81D4-42B5-8025-E1AB0EB995AA}" type="pres">
      <dgm:prSet presAssocID="{61B7CA4A-BCAA-49F9-8060-D1260FC5165B}" presName="thinLine2b" presStyleLbl="callout" presStyleIdx="1" presStyleCnt="5"/>
      <dgm:spPr/>
    </dgm:pt>
    <dgm:pt modelId="{A9ED7EB3-E5C6-4051-973F-B8ABAB4DBF47}" type="pres">
      <dgm:prSet presAssocID="{61B7CA4A-BCAA-49F9-8060-D1260FC5165B}" presName="vertSpace2b" presStyleCnt="0"/>
      <dgm:spPr/>
    </dgm:pt>
    <dgm:pt modelId="{B51F8265-E740-4C85-8FB9-AB1206D8DE37}" type="pres">
      <dgm:prSet presAssocID="{436B9D08-9900-4FBF-943F-7537A26339FD}" presName="horz2" presStyleCnt="0"/>
      <dgm:spPr/>
    </dgm:pt>
    <dgm:pt modelId="{08C32865-71DC-48A5-AA98-8A8410E58C59}" type="pres">
      <dgm:prSet presAssocID="{436B9D08-9900-4FBF-943F-7537A26339FD}" presName="horzSpace2" presStyleCnt="0"/>
      <dgm:spPr/>
    </dgm:pt>
    <dgm:pt modelId="{841FE66B-A305-4008-B5BC-F87CA884B95D}" type="pres">
      <dgm:prSet presAssocID="{436B9D08-9900-4FBF-943F-7537A26339FD}" presName="tx2" presStyleLbl="revTx" presStyleIdx="3" presStyleCnt="7"/>
      <dgm:spPr/>
      <dgm:t>
        <a:bodyPr/>
        <a:lstStyle/>
        <a:p>
          <a:endParaRPr lang="hr-HR"/>
        </a:p>
      </dgm:t>
    </dgm:pt>
    <dgm:pt modelId="{663BFD94-EE0C-4088-94D6-1AE320B3C7E0}" type="pres">
      <dgm:prSet presAssocID="{436B9D08-9900-4FBF-943F-7537A26339FD}" presName="vert2" presStyleCnt="0"/>
      <dgm:spPr/>
    </dgm:pt>
    <dgm:pt modelId="{F30993BD-3AF2-4106-82F9-C2C229A063BE}" type="pres">
      <dgm:prSet presAssocID="{436B9D08-9900-4FBF-943F-7537A26339FD}" presName="thinLine2b" presStyleLbl="callout" presStyleIdx="2" presStyleCnt="5"/>
      <dgm:spPr/>
    </dgm:pt>
    <dgm:pt modelId="{4FC7342D-4D62-4E1D-A2B5-658728F428EE}" type="pres">
      <dgm:prSet presAssocID="{436B9D08-9900-4FBF-943F-7537A26339FD}" presName="vertSpace2b" presStyleCnt="0"/>
      <dgm:spPr/>
    </dgm:pt>
    <dgm:pt modelId="{45A96393-DECA-4207-95F3-F07D18745FAE}" type="pres">
      <dgm:prSet presAssocID="{5D7863FD-AB37-4609-9973-EB60C2671761}" presName="thickLine" presStyleLbl="alignNode1" presStyleIdx="1" presStyleCnt="2"/>
      <dgm:spPr/>
    </dgm:pt>
    <dgm:pt modelId="{270994BB-286E-4865-B30E-048AB5A839EC}" type="pres">
      <dgm:prSet presAssocID="{5D7863FD-AB37-4609-9973-EB60C2671761}" presName="horz1" presStyleCnt="0"/>
      <dgm:spPr/>
    </dgm:pt>
    <dgm:pt modelId="{1E3D9D26-08CE-4074-B0A7-ABE39E6911CF}" type="pres">
      <dgm:prSet presAssocID="{5D7863FD-AB37-4609-9973-EB60C2671761}" presName="tx1" presStyleLbl="revTx" presStyleIdx="4" presStyleCnt="7"/>
      <dgm:spPr/>
      <dgm:t>
        <a:bodyPr/>
        <a:lstStyle/>
        <a:p>
          <a:endParaRPr lang="hr-HR"/>
        </a:p>
      </dgm:t>
    </dgm:pt>
    <dgm:pt modelId="{42A73C10-A208-48CA-B1D8-0161B0E762AA}" type="pres">
      <dgm:prSet presAssocID="{5D7863FD-AB37-4609-9973-EB60C2671761}" presName="vert1" presStyleCnt="0"/>
      <dgm:spPr/>
    </dgm:pt>
    <dgm:pt modelId="{2F1C1F6B-3F96-4EC1-BCB5-073E4EA0A605}" type="pres">
      <dgm:prSet presAssocID="{9530ED7E-A839-4E3F-8C8C-9607E2E32618}" presName="vertSpace2a" presStyleCnt="0"/>
      <dgm:spPr/>
    </dgm:pt>
    <dgm:pt modelId="{2DCB892B-52C0-4034-ACC2-F5799134334C}" type="pres">
      <dgm:prSet presAssocID="{9530ED7E-A839-4E3F-8C8C-9607E2E32618}" presName="horz2" presStyleCnt="0"/>
      <dgm:spPr/>
    </dgm:pt>
    <dgm:pt modelId="{594C1432-7A5D-46B0-B1A1-78C640F5F0BD}" type="pres">
      <dgm:prSet presAssocID="{9530ED7E-A839-4E3F-8C8C-9607E2E32618}" presName="horzSpace2" presStyleCnt="0"/>
      <dgm:spPr/>
    </dgm:pt>
    <dgm:pt modelId="{BCCCA79D-5B47-4686-ADD6-17646F87D24B}" type="pres">
      <dgm:prSet presAssocID="{9530ED7E-A839-4E3F-8C8C-9607E2E32618}" presName="tx2" presStyleLbl="revTx" presStyleIdx="5" presStyleCnt="7"/>
      <dgm:spPr/>
      <dgm:t>
        <a:bodyPr/>
        <a:lstStyle/>
        <a:p>
          <a:endParaRPr lang="hr-HR"/>
        </a:p>
      </dgm:t>
    </dgm:pt>
    <dgm:pt modelId="{42FE9030-84AC-4995-A0B1-3B56341E495C}" type="pres">
      <dgm:prSet presAssocID="{9530ED7E-A839-4E3F-8C8C-9607E2E32618}" presName="vert2" presStyleCnt="0"/>
      <dgm:spPr/>
    </dgm:pt>
    <dgm:pt modelId="{763D62FD-F00F-4742-BBE4-8C1D37D55355}" type="pres">
      <dgm:prSet presAssocID="{9530ED7E-A839-4E3F-8C8C-9607E2E32618}" presName="thinLine2b" presStyleLbl="callout" presStyleIdx="3" presStyleCnt="5"/>
      <dgm:spPr/>
    </dgm:pt>
    <dgm:pt modelId="{C80613C2-2805-4F31-A3FB-47647DAC89D8}" type="pres">
      <dgm:prSet presAssocID="{9530ED7E-A839-4E3F-8C8C-9607E2E32618}" presName="vertSpace2b" presStyleCnt="0"/>
      <dgm:spPr/>
    </dgm:pt>
    <dgm:pt modelId="{AAD5F04C-89C1-4E38-854C-D88BFDC692F4}" type="pres">
      <dgm:prSet presAssocID="{BA8A04F6-7599-4EE1-A383-B63024011728}" presName="horz2" presStyleCnt="0"/>
      <dgm:spPr/>
    </dgm:pt>
    <dgm:pt modelId="{9E0918EB-F1E8-4174-834B-5DE889DF8E2C}" type="pres">
      <dgm:prSet presAssocID="{BA8A04F6-7599-4EE1-A383-B63024011728}" presName="horzSpace2" presStyleCnt="0"/>
      <dgm:spPr/>
    </dgm:pt>
    <dgm:pt modelId="{86F50356-2C91-48BE-B5EF-A3978E17E009}" type="pres">
      <dgm:prSet presAssocID="{BA8A04F6-7599-4EE1-A383-B63024011728}" presName="tx2" presStyleLbl="revTx" presStyleIdx="6" presStyleCnt="7"/>
      <dgm:spPr/>
      <dgm:t>
        <a:bodyPr/>
        <a:lstStyle/>
        <a:p>
          <a:endParaRPr lang="hr-HR"/>
        </a:p>
      </dgm:t>
    </dgm:pt>
    <dgm:pt modelId="{D7548726-AEA5-4D12-BF44-D64183DAB76D}" type="pres">
      <dgm:prSet presAssocID="{BA8A04F6-7599-4EE1-A383-B63024011728}" presName="vert2" presStyleCnt="0"/>
      <dgm:spPr/>
    </dgm:pt>
    <dgm:pt modelId="{E3B6D7F0-20DC-4DEC-8A33-9129E7C9DE55}" type="pres">
      <dgm:prSet presAssocID="{BA8A04F6-7599-4EE1-A383-B63024011728}" presName="thinLine2b" presStyleLbl="callout" presStyleIdx="4" presStyleCnt="5"/>
      <dgm:spPr/>
    </dgm:pt>
    <dgm:pt modelId="{3C8D8D49-D838-482A-A025-A0B8168A012A}" type="pres">
      <dgm:prSet presAssocID="{BA8A04F6-7599-4EE1-A383-B63024011728}" presName="vertSpace2b" presStyleCnt="0"/>
      <dgm:spPr/>
    </dgm:pt>
  </dgm:ptLst>
  <dgm:cxnLst>
    <dgm:cxn modelId="{490490A6-1A2D-40B4-9710-E2268339CD72}" type="presOf" srcId="{F81860E6-71FF-4C5A-8B6F-00D5343A9FBF}" destId="{6C4D1C1A-1527-4A0D-8B3A-92753E5A62C1}" srcOrd="0" destOrd="0" presId="urn:microsoft.com/office/officeart/2008/layout/LinedList"/>
    <dgm:cxn modelId="{300DCE9C-5844-4B99-B775-24C9089BB320}" srcId="{F81860E6-71FF-4C5A-8B6F-00D5343A9FBF}" destId="{A0682142-CCC4-431E-9CAE-F34F449F517C}" srcOrd="0" destOrd="0" parTransId="{DD8958C9-CC14-4805-AD7F-5FE7E3230356}" sibTransId="{30023D07-BF05-4598-BA2B-3B6B6673EEAB}"/>
    <dgm:cxn modelId="{AFCA0E78-0722-447F-8966-3D1B3AF4E8C4}" srcId="{F81860E6-71FF-4C5A-8B6F-00D5343A9FBF}" destId="{436B9D08-9900-4FBF-943F-7537A26339FD}" srcOrd="2" destOrd="0" parTransId="{BABD670D-8194-481A-80F1-E8AE51881FA0}" sibTransId="{0D4F0630-4090-484D-B393-3E18AFAC2598}"/>
    <dgm:cxn modelId="{80645E8C-D83E-4B5F-AD89-77697761F4DB}" type="presOf" srcId="{61B7CA4A-BCAA-49F9-8060-D1260FC5165B}" destId="{B6A9AE9F-42C6-4215-85B8-532EEC37701A}" srcOrd="0" destOrd="0" presId="urn:microsoft.com/office/officeart/2008/layout/LinedList"/>
    <dgm:cxn modelId="{71451336-B894-4F6D-9DC0-81C8A2A44A15}" type="presOf" srcId="{436B9D08-9900-4FBF-943F-7537A26339FD}" destId="{841FE66B-A305-4008-B5BC-F87CA884B95D}" srcOrd="0" destOrd="0" presId="urn:microsoft.com/office/officeart/2008/layout/LinedList"/>
    <dgm:cxn modelId="{D15E6D45-E1AA-46F0-8316-009FA291DD47}" srcId="{5D7863FD-AB37-4609-9973-EB60C2671761}" destId="{9530ED7E-A839-4E3F-8C8C-9607E2E32618}" srcOrd="0" destOrd="0" parTransId="{3DEB9DFB-8446-4E9F-B102-CF0898C5D644}" sibTransId="{6A22B022-AB70-47AB-A30F-4123A548496F}"/>
    <dgm:cxn modelId="{3BDA28EE-E6D1-4722-9398-F3846A8680EB}" type="presOf" srcId="{5D7863FD-AB37-4609-9973-EB60C2671761}" destId="{1E3D9D26-08CE-4074-B0A7-ABE39E6911CF}" srcOrd="0" destOrd="0" presId="urn:microsoft.com/office/officeart/2008/layout/LinedList"/>
    <dgm:cxn modelId="{88F9C18D-9917-49F1-AD75-1D21895A377C}" type="presOf" srcId="{BA8A04F6-7599-4EE1-A383-B63024011728}" destId="{86F50356-2C91-48BE-B5EF-A3978E17E009}" srcOrd="0" destOrd="0" presId="urn:microsoft.com/office/officeart/2008/layout/LinedList"/>
    <dgm:cxn modelId="{5C56F8B5-07EF-443F-85A7-F971044C1046}" type="presOf" srcId="{A0682142-CCC4-431E-9CAE-F34F449F517C}" destId="{8C63EBE2-F487-4EB9-9119-AD19CE0B0BF2}" srcOrd="0" destOrd="0" presId="urn:microsoft.com/office/officeart/2008/layout/LinedList"/>
    <dgm:cxn modelId="{DAED885E-5D3F-4443-A91F-9A3B4BBEA478}" srcId="{5D7863FD-AB37-4609-9973-EB60C2671761}" destId="{BA8A04F6-7599-4EE1-A383-B63024011728}" srcOrd="1" destOrd="0" parTransId="{86401BBC-5F42-4578-BD6A-637E99E6650A}" sibTransId="{D51FBDB8-DAD9-4ACC-9131-E7FD572A9D81}"/>
    <dgm:cxn modelId="{2446B383-8BDE-440D-B1C0-0E8E95C2EBAA}" srcId="{EE301C1D-F021-49A2-B603-10676C1CA9CF}" destId="{F81860E6-71FF-4C5A-8B6F-00D5343A9FBF}" srcOrd="0" destOrd="0" parTransId="{5E0E9495-40C9-4AE1-86CD-031B8C2D0803}" sibTransId="{942E4965-C2AB-4CAF-B319-D1F193EB5193}"/>
    <dgm:cxn modelId="{E208D58D-E5DD-458B-8FD4-4D9623DB7CB6}" srcId="{EE301C1D-F021-49A2-B603-10676C1CA9CF}" destId="{5D7863FD-AB37-4609-9973-EB60C2671761}" srcOrd="1" destOrd="0" parTransId="{8EC17906-63CE-4EB5-90B4-945C951E1B65}" sibTransId="{25568545-C30A-4662-A63C-F84B0CC1A623}"/>
    <dgm:cxn modelId="{DC681496-6692-4EAF-8F7F-9D5ED93B8FBB}" type="presOf" srcId="{9530ED7E-A839-4E3F-8C8C-9607E2E32618}" destId="{BCCCA79D-5B47-4686-ADD6-17646F87D24B}" srcOrd="0" destOrd="0" presId="urn:microsoft.com/office/officeart/2008/layout/LinedList"/>
    <dgm:cxn modelId="{7932B70B-7751-4F8E-A481-2B730BB0A67C}" type="presOf" srcId="{EE301C1D-F021-49A2-B603-10676C1CA9CF}" destId="{DC1ECE1F-3455-4ADB-906C-9EEB89EE01CF}" srcOrd="0" destOrd="0" presId="urn:microsoft.com/office/officeart/2008/layout/LinedList"/>
    <dgm:cxn modelId="{A2CCA5E6-9D58-4F59-8E6F-000974D4F98E}" srcId="{F81860E6-71FF-4C5A-8B6F-00D5343A9FBF}" destId="{61B7CA4A-BCAA-49F9-8060-D1260FC5165B}" srcOrd="1" destOrd="0" parTransId="{475730EA-7ACA-4AD8-813A-DBCB117C8142}" sibTransId="{025BFF0B-9255-4E71-8EFE-1E87139C370B}"/>
    <dgm:cxn modelId="{A48A3C87-7F60-406D-A5F7-B0EF753C2753}" type="presParOf" srcId="{DC1ECE1F-3455-4ADB-906C-9EEB89EE01CF}" destId="{82F30125-86A4-48F9-B9EE-C182689C6708}" srcOrd="0" destOrd="0" presId="urn:microsoft.com/office/officeart/2008/layout/LinedList"/>
    <dgm:cxn modelId="{B079E3BF-09EE-4C19-B614-AB19DACB0232}" type="presParOf" srcId="{DC1ECE1F-3455-4ADB-906C-9EEB89EE01CF}" destId="{305FAA43-99E4-40B4-868E-AB40534A788F}" srcOrd="1" destOrd="0" presId="urn:microsoft.com/office/officeart/2008/layout/LinedList"/>
    <dgm:cxn modelId="{B9586F5A-11A6-4BDC-A0E9-BDB27CE64303}" type="presParOf" srcId="{305FAA43-99E4-40B4-868E-AB40534A788F}" destId="{6C4D1C1A-1527-4A0D-8B3A-92753E5A62C1}" srcOrd="0" destOrd="0" presId="urn:microsoft.com/office/officeart/2008/layout/LinedList"/>
    <dgm:cxn modelId="{3CDE3AA3-5C51-4E07-A04D-042E2BE346C0}" type="presParOf" srcId="{305FAA43-99E4-40B4-868E-AB40534A788F}" destId="{16FC0FA2-8A53-4071-9AC9-BC76F6E2FC59}" srcOrd="1" destOrd="0" presId="urn:microsoft.com/office/officeart/2008/layout/LinedList"/>
    <dgm:cxn modelId="{FC9D12E9-8442-4141-83AD-FFC6189B1236}" type="presParOf" srcId="{16FC0FA2-8A53-4071-9AC9-BC76F6E2FC59}" destId="{9D89C3DD-B5C2-4B40-83DD-E6A5ADD1A656}" srcOrd="0" destOrd="0" presId="urn:microsoft.com/office/officeart/2008/layout/LinedList"/>
    <dgm:cxn modelId="{6B53A6CF-D179-4CA5-841C-A3946003023E}" type="presParOf" srcId="{16FC0FA2-8A53-4071-9AC9-BC76F6E2FC59}" destId="{29338978-47A3-401F-B699-BD19C6D90BBC}" srcOrd="1" destOrd="0" presId="urn:microsoft.com/office/officeart/2008/layout/LinedList"/>
    <dgm:cxn modelId="{79A793E9-087F-41CD-B79C-6A423D270D55}" type="presParOf" srcId="{29338978-47A3-401F-B699-BD19C6D90BBC}" destId="{9118F82B-3311-4F11-8916-BB65F7F2DD2D}" srcOrd="0" destOrd="0" presId="urn:microsoft.com/office/officeart/2008/layout/LinedList"/>
    <dgm:cxn modelId="{8BDAB8E4-41D0-4037-8118-255F3A1FEAE5}" type="presParOf" srcId="{29338978-47A3-401F-B699-BD19C6D90BBC}" destId="{8C63EBE2-F487-4EB9-9119-AD19CE0B0BF2}" srcOrd="1" destOrd="0" presId="urn:microsoft.com/office/officeart/2008/layout/LinedList"/>
    <dgm:cxn modelId="{B4A86256-B661-468A-96C2-99AB6B7D1C7B}" type="presParOf" srcId="{29338978-47A3-401F-B699-BD19C6D90BBC}" destId="{AD106E20-EF36-4725-A3FE-359560F7CC9B}" srcOrd="2" destOrd="0" presId="urn:microsoft.com/office/officeart/2008/layout/LinedList"/>
    <dgm:cxn modelId="{A8BF2AF3-56EE-48E4-AE9A-4B6F36F42A84}" type="presParOf" srcId="{16FC0FA2-8A53-4071-9AC9-BC76F6E2FC59}" destId="{6C724915-17BC-4534-B9E5-24E0BA5BDBA4}" srcOrd="2" destOrd="0" presId="urn:microsoft.com/office/officeart/2008/layout/LinedList"/>
    <dgm:cxn modelId="{DE222244-2089-4883-97E7-516C3B3BDAB5}" type="presParOf" srcId="{16FC0FA2-8A53-4071-9AC9-BC76F6E2FC59}" destId="{47A70572-9009-4DB6-9142-71A753A74699}" srcOrd="3" destOrd="0" presId="urn:microsoft.com/office/officeart/2008/layout/LinedList"/>
    <dgm:cxn modelId="{CC9530A8-1E8F-45B5-B877-8257C3A13BB7}" type="presParOf" srcId="{16FC0FA2-8A53-4071-9AC9-BC76F6E2FC59}" destId="{7FAFA52E-96CA-4E84-ACF4-69D882E9DEF8}" srcOrd="4" destOrd="0" presId="urn:microsoft.com/office/officeart/2008/layout/LinedList"/>
    <dgm:cxn modelId="{906A35F7-4E3A-46B4-9219-89CD0AEED1B2}" type="presParOf" srcId="{7FAFA52E-96CA-4E84-ACF4-69D882E9DEF8}" destId="{35BD2EF5-A984-4C7A-8E95-DFDCB3B1AEA3}" srcOrd="0" destOrd="0" presId="urn:microsoft.com/office/officeart/2008/layout/LinedList"/>
    <dgm:cxn modelId="{2F5CA015-4883-4789-9C96-B55781C55884}" type="presParOf" srcId="{7FAFA52E-96CA-4E84-ACF4-69D882E9DEF8}" destId="{B6A9AE9F-42C6-4215-85B8-532EEC37701A}" srcOrd="1" destOrd="0" presId="urn:microsoft.com/office/officeart/2008/layout/LinedList"/>
    <dgm:cxn modelId="{99965B23-4AA3-489E-94F6-5EBF4D1CCB6D}" type="presParOf" srcId="{7FAFA52E-96CA-4E84-ACF4-69D882E9DEF8}" destId="{391ADF38-8E7C-4E3A-B1CC-C69CF6209B7E}" srcOrd="2" destOrd="0" presId="urn:microsoft.com/office/officeart/2008/layout/LinedList"/>
    <dgm:cxn modelId="{BA629E81-9564-49CE-9476-EECD2CDC73C6}" type="presParOf" srcId="{16FC0FA2-8A53-4071-9AC9-BC76F6E2FC59}" destId="{367186C9-81D4-42B5-8025-E1AB0EB995AA}" srcOrd="5" destOrd="0" presId="urn:microsoft.com/office/officeart/2008/layout/LinedList"/>
    <dgm:cxn modelId="{67370A97-6B22-44B3-86CD-0BB7611DF26B}" type="presParOf" srcId="{16FC0FA2-8A53-4071-9AC9-BC76F6E2FC59}" destId="{A9ED7EB3-E5C6-4051-973F-B8ABAB4DBF47}" srcOrd="6" destOrd="0" presId="urn:microsoft.com/office/officeart/2008/layout/LinedList"/>
    <dgm:cxn modelId="{FE7E355E-3221-42E3-9C71-D23D41708258}" type="presParOf" srcId="{16FC0FA2-8A53-4071-9AC9-BC76F6E2FC59}" destId="{B51F8265-E740-4C85-8FB9-AB1206D8DE37}" srcOrd="7" destOrd="0" presId="urn:microsoft.com/office/officeart/2008/layout/LinedList"/>
    <dgm:cxn modelId="{B5C495A8-3DB7-4232-8DFD-26AAE49FA31A}" type="presParOf" srcId="{B51F8265-E740-4C85-8FB9-AB1206D8DE37}" destId="{08C32865-71DC-48A5-AA98-8A8410E58C59}" srcOrd="0" destOrd="0" presId="urn:microsoft.com/office/officeart/2008/layout/LinedList"/>
    <dgm:cxn modelId="{D824B8CF-62D7-489F-8662-61EBED086F4A}" type="presParOf" srcId="{B51F8265-E740-4C85-8FB9-AB1206D8DE37}" destId="{841FE66B-A305-4008-B5BC-F87CA884B95D}" srcOrd="1" destOrd="0" presId="urn:microsoft.com/office/officeart/2008/layout/LinedList"/>
    <dgm:cxn modelId="{9AA8E2D1-8933-41E7-BBB7-1125BDCDE81F}" type="presParOf" srcId="{B51F8265-E740-4C85-8FB9-AB1206D8DE37}" destId="{663BFD94-EE0C-4088-94D6-1AE320B3C7E0}" srcOrd="2" destOrd="0" presId="urn:microsoft.com/office/officeart/2008/layout/LinedList"/>
    <dgm:cxn modelId="{6F086B66-127B-45DA-AF10-25D02ABC6553}" type="presParOf" srcId="{16FC0FA2-8A53-4071-9AC9-BC76F6E2FC59}" destId="{F30993BD-3AF2-4106-82F9-C2C229A063BE}" srcOrd="8" destOrd="0" presId="urn:microsoft.com/office/officeart/2008/layout/LinedList"/>
    <dgm:cxn modelId="{DF625F3B-3E1A-4246-8A81-4F4290F65B9F}" type="presParOf" srcId="{16FC0FA2-8A53-4071-9AC9-BC76F6E2FC59}" destId="{4FC7342D-4D62-4E1D-A2B5-658728F428EE}" srcOrd="9" destOrd="0" presId="urn:microsoft.com/office/officeart/2008/layout/LinedList"/>
    <dgm:cxn modelId="{52D6C34E-CEFA-4B12-AD38-29ACFB41A15B}" type="presParOf" srcId="{DC1ECE1F-3455-4ADB-906C-9EEB89EE01CF}" destId="{45A96393-DECA-4207-95F3-F07D18745FAE}" srcOrd="2" destOrd="0" presId="urn:microsoft.com/office/officeart/2008/layout/LinedList"/>
    <dgm:cxn modelId="{E9C137AD-E09D-4692-B783-4E392C1264C6}" type="presParOf" srcId="{DC1ECE1F-3455-4ADB-906C-9EEB89EE01CF}" destId="{270994BB-286E-4865-B30E-048AB5A839EC}" srcOrd="3" destOrd="0" presId="urn:microsoft.com/office/officeart/2008/layout/LinedList"/>
    <dgm:cxn modelId="{AB75A45A-7735-47B9-A253-A47E991E7C55}" type="presParOf" srcId="{270994BB-286E-4865-B30E-048AB5A839EC}" destId="{1E3D9D26-08CE-4074-B0A7-ABE39E6911CF}" srcOrd="0" destOrd="0" presId="urn:microsoft.com/office/officeart/2008/layout/LinedList"/>
    <dgm:cxn modelId="{E7211D27-8CC6-40CE-AADF-4E654CD9F5CA}" type="presParOf" srcId="{270994BB-286E-4865-B30E-048AB5A839EC}" destId="{42A73C10-A208-48CA-B1D8-0161B0E762AA}" srcOrd="1" destOrd="0" presId="urn:microsoft.com/office/officeart/2008/layout/LinedList"/>
    <dgm:cxn modelId="{59F99249-A7EA-413E-A96F-D53F39A27180}" type="presParOf" srcId="{42A73C10-A208-48CA-B1D8-0161B0E762AA}" destId="{2F1C1F6B-3F96-4EC1-BCB5-073E4EA0A605}" srcOrd="0" destOrd="0" presId="urn:microsoft.com/office/officeart/2008/layout/LinedList"/>
    <dgm:cxn modelId="{E573E231-3033-4BC2-92BF-BF66F2FEB4BE}" type="presParOf" srcId="{42A73C10-A208-48CA-B1D8-0161B0E762AA}" destId="{2DCB892B-52C0-4034-ACC2-F5799134334C}" srcOrd="1" destOrd="0" presId="urn:microsoft.com/office/officeart/2008/layout/LinedList"/>
    <dgm:cxn modelId="{41B73E1C-E1B4-4ECD-8191-90A2FE564DBB}" type="presParOf" srcId="{2DCB892B-52C0-4034-ACC2-F5799134334C}" destId="{594C1432-7A5D-46B0-B1A1-78C640F5F0BD}" srcOrd="0" destOrd="0" presId="urn:microsoft.com/office/officeart/2008/layout/LinedList"/>
    <dgm:cxn modelId="{557EAA64-934C-4C01-A0C5-136323B855BD}" type="presParOf" srcId="{2DCB892B-52C0-4034-ACC2-F5799134334C}" destId="{BCCCA79D-5B47-4686-ADD6-17646F87D24B}" srcOrd="1" destOrd="0" presId="urn:microsoft.com/office/officeart/2008/layout/LinedList"/>
    <dgm:cxn modelId="{1744CB34-FEB3-454F-85CA-C3E4806FCF44}" type="presParOf" srcId="{2DCB892B-52C0-4034-ACC2-F5799134334C}" destId="{42FE9030-84AC-4995-A0B1-3B56341E495C}" srcOrd="2" destOrd="0" presId="urn:microsoft.com/office/officeart/2008/layout/LinedList"/>
    <dgm:cxn modelId="{B70A9588-B8EB-4A64-8434-E904723F18CE}" type="presParOf" srcId="{42A73C10-A208-48CA-B1D8-0161B0E762AA}" destId="{763D62FD-F00F-4742-BBE4-8C1D37D55355}" srcOrd="2" destOrd="0" presId="urn:microsoft.com/office/officeart/2008/layout/LinedList"/>
    <dgm:cxn modelId="{2E17D4FC-A05D-4D53-8E9F-3BFB5790F70B}" type="presParOf" srcId="{42A73C10-A208-48CA-B1D8-0161B0E762AA}" destId="{C80613C2-2805-4F31-A3FB-47647DAC89D8}" srcOrd="3" destOrd="0" presId="urn:microsoft.com/office/officeart/2008/layout/LinedList"/>
    <dgm:cxn modelId="{54DDD0DE-F97B-4023-A877-516419B508A5}" type="presParOf" srcId="{42A73C10-A208-48CA-B1D8-0161B0E762AA}" destId="{AAD5F04C-89C1-4E38-854C-D88BFDC692F4}" srcOrd="4" destOrd="0" presId="urn:microsoft.com/office/officeart/2008/layout/LinedList"/>
    <dgm:cxn modelId="{BEFE8175-C359-4D99-A1EF-3DAFB4E9DF5C}" type="presParOf" srcId="{AAD5F04C-89C1-4E38-854C-D88BFDC692F4}" destId="{9E0918EB-F1E8-4174-834B-5DE889DF8E2C}" srcOrd="0" destOrd="0" presId="urn:microsoft.com/office/officeart/2008/layout/LinedList"/>
    <dgm:cxn modelId="{53E9BC31-89C3-4D44-BFF6-D7A260C24695}" type="presParOf" srcId="{AAD5F04C-89C1-4E38-854C-D88BFDC692F4}" destId="{86F50356-2C91-48BE-B5EF-A3978E17E009}" srcOrd="1" destOrd="0" presId="urn:microsoft.com/office/officeart/2008/layout/LinedList"/>
    <dgm:cxn modelId="{51FEE69E-7D8D-420A-B761-B37297D4C809}" type="presParOf" srcId="{AAD5F04C-89C1-4E38-854C-D88BFDC692F4}" destId="{D7548726-AEA5-4D12-BF44-D64183DAB76D}" srcOrd="2" destOrd="0" presId="urn:microsoft.com/office/officeart/2008/layout/LinedList"/>
    <dgm:cxn modelId="{2123DA0A-CEAF-4FF1-9549-80B526C85D4B}" type="presParOf" srcId="{42A73C10-A208-48CA-B1D8-0161B0E762AA}" destId="{E3B6D7F0-20DC-4DEC-8A33-9129E7C9DE55}" srcOrd="5" destOrd="0" presId="urn:microsoft.com/office/officeart/2008/layout/LinedList"/>
    <dgm:cxn modelId="{0A6F4983-31CD-4CC9-86C6-B85C028BB5AC}" type="presParOf" srcId="{42A73C10-A208-48CA-B1D8-0161B0E762AA}" destId="{3C8D8D49-D838-482A-A025-A0B8168A012A}" srcOrd="6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D303235-E40F-4743-A87D-4B51C2056FD9}">
      <dsp:nvSpPr>
        <dsp:cNvPr id="0" name=""/>
        <dsp:cNvSpPr/>
      </dsp:nvSpPr>
      <dsp:spPr>
        <a:xfrm>
          <a:off x="0" y="1386"/>
          <a:ext cx="886288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06F1BA-B75E-4F76-9605-477111A0D397}">
      <dsp:nvSpPr>
        <dsp:cNvPr id="0" name=""/>
        <dsp:cNvSpPr/>
      </dsp:nvSpPr>
      <dsp:spPr>
        <a:xfrm>
          <a:off x="0" y="1386"/>
          <a:ext cx="1772577" cy="2836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b="1" kern="1200" dirty="0" smtClean="0"/>
            <a:t>Administrativni problemi integracije OIE</a:t>
          </a:r>
        </a:p>
      </dsp:txBody>
      <dsp:txXfrm>
        <a:off x="0" y="1386"/>
        <a:ext cx="1772577" cy="2836312"/>
      </dsp:txXfrm>
    </dsp:sp>
    <dsp:sp modelId="{2A834A47-C764-4E20-AB54-8706508FD6A8}">
      <dsp:nvSpPr>
        <dsp:cNvPr id="0" name=""/>
        <dsp:cNvSpPr/>
      </dsp:nvSpPr>
      <dsp:spPr>
        <a:xfrm>
          <a:off x="1905520" y="31438"/>
          <a:ext cx="6957367" cy="6010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Komplicirana administrativna procedura stjecanja potrebnih dozvola i suglasnosti vezanih uz stjecanje statusa povlaštenog proizvođača</a:t>
          </a:r>
          <a:endParaRPr lang="hr-HR" sz="1600" kern="1200" dirty="0"/>
        </a:p>
      </dsp:txBody>
      <dsp:txXfrm>
        <a:off x="1905520" y="31438"/>
        <a:ext cx="6957367" cy="601054"/>
      </dsp:txXfrm>
    </dsp:sp>
    <dsp:sp modelId="{B4753B8E-71C6-4CA7-A906-715510A57B9F}">
      <dsp:nvSpPr>
        <dsp:cNvPr id="0" name=""/>
        <dsp:cNvSpPr/>
      </dsp:nvSpPr>
      <dsp:spPr>
        <a:xfrm>
          <a:off x="1772577" y="632493"/>
          <a:ext cx="70903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07A5D9-1932-4838-BF8A-A5C4648C6059}">
      <dsp:nvSpPr>
        <dsp:cNvPr id="0" name=""/>
        <dsp:cNvSpPr/>
      </dsp:nvSpPr>
      <dsp:spPr>
        <a:xfrm>
          <a:off x="1905520" y="662546"/>
          <a:ext cx="6957367" cy="2996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 Uvođenje lokacija OIE u prostorne planove</a:t>
          </a:r>
          <a:endParaRPr lang="hr-HR" sz="1600" kern="1200" dirty="0"/>
        </a:p>
      </dsp:txBody>
      <dsp:txXfrm>
        <a:off x="1905520" y="662546"/>
        <a:ext cx="6957367" cy="299649"/>
      </dsp:txXfrm>
    </dsp:sp>
    <dsp:sp modelId="{79E1E7A3-AACF-4E06-A12C-D5EA89CEB3D6}">
      <dsp:nvSpPr>
        <dsp:cNvPr id="0" name=""/>
        <dsp:cNvSpPr/>
      </dsp:nvSpPr>
      <dsp:spPr>
        <a:xfrm>
          <a:off x="1772577" y="962195"/>
          <a:ext cx="70903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2691B9-F0FB-413A-AD35-6A8B11054FF3}">
      <dsp:nvSpPr>
        <dsp:cNvPr id="0" name=""/>
        <dsp:cNvSpPr/>
      </dsp:nvSpPr>
      <dsp:spPr>
        <a:xfrm>
          <a:off x="1905520" y="992248"/>
          <a:ext cx="6957367" cy="6010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Otežano donošenje odluka i nadležnosti zbog nejasno definiranih uloga pojedinih institucija odgovornih za dio spomenute procedure, kao i za trajanje samih dozvola</a:t>
          </a:r>
          <a:endParaRPr lang="hr-HR" sz="1600" kern="1200" dirty="0"/>
        </a:p>
      </dsp:txBody>
      <dsp:txXfrm>
        <a:off x="1905520" y="992248"/>
        <a:ext cx="6957367" cy="601054"/>
      </dsp:txXfrm>
    </dsp:sp>
    <dsp:sp modelId="{00CB3D2C-DAE9-4ACD-A2F9-A1CD63FFC58A}">
      <dsp:nvSpPr>
        <dsp:cNvPr id="0" name=""/>
        <dsp:cNvSpPr/>
      </dsp:nvSpPr>
      <dsp:spPr>
        <a:xfrm>
          <a:off x="1772577" y="1593303"/>
          <a:ext cx="70903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B99312-6784-45E0-9D70-1F96866B3356}">
      <dsp:nvSpPr>
        <dsp:cNvPr id="0" name=""/>
        <dsp:cNvSpPr/>
      </dsp:nvSpPr>
      <dsp:spPr>
        <a:xfrm>
          <a:off x="1905520" y="1623355"/>
          <a:ext cx="6957367" cy="3380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Nefunkcioniranje mehanizama selekcije kvalitetnih projekata od špekulativnih</a:t>
          </a:r>
          <a:endParaRPr lang="hr-HR" sz="1600" kern="1200" dirty="0"/>
        </a:p>
      </dsp:txBody>
      <dsp:txXfrm>
        <a:off x="1905520" y="1623355"/>
        <a:ext cx="6957367" cy="338051"/>
      </dsp:txXfrm>
    </dsp:sp>
    <dsp:sp modelId="{3E6614A6-3F2F-42C6-959D-71EE8C55883B}">
      <dsp:nvSpPr>
        <dsp:cNvPr id="0" name=""/>
        <dsp:cNvSpPr/>
      </dsp:nvSpPr>
      <dsp:spPr>
        <a:xfrm>
          <a:off x="1772577" y="1961406"/>
          <a:ext cx="70903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32E825-0A52-40B9-BAA1-12D57BEC0C1B}">
      <dsp:nvSpPr>
        <dsp:cNvPr id="0" name=""/>
        <dsp:cNvSpPr/>
      </dsp:nvSpPr>
      <dsp:spPr>
        <a:xfrm>
          <a:off x="1905520" y="1991459"/>
          <a:ext cx="6957367" cy="8153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 Uvođenje javnih natječaja za dodjelu prava priključka i prava služnosti i/ili građenja na zemljištu u državnom vlasništvu bez jasno definirane procedure njihovog provođenja</a:t>
          </a:r>
          <a:endParaRPr lang="hr-HR" sz="1600" kern="1200" dirty="0"/>
        </a:p>
      </dsp:txBody>
      <dsp:txXfrm>
        <a:off x="1905520" y="1991459"/>
        <a:ext cx="6957367" cy="815336"/>
      </dsp:txXfrm>
    </dsp:sp>
    <dsp:sp modelId="{9EDAF2E8-E1B4-49BC-B072-7DF9A32AAB32}">
      <dsp:nvSpPr>
        <dsp:cNvPr id="0" name=""/>
        <dsp:cNvSpPr/>
      </dsp:nvSpPr>
      <dsp:spPr>
        <a:xfrm>
          <a:off x="1772577" y="2806796"/>
          <a:ext cx="70903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CC9D32D-9706-4124-98E9-1A86C734BFFA}">
      <dsp:nvSpPr>
        <dsp:cNvPr id="0" name=""/>
        <dsp:cNvSpPr/>
      </dsp:nvSpPr>
      <dsp:spPr>
        <a:xfrm>
          <a:off x="0" y="119255"/>
          <a:ext cx="8463279" cy="4557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900" b="1" kern="1200" dirty="0" smtClean="0"/>
            <a:t>Završimo do kraja 2018. sve započete projekte OIE </a:t>
          </a:r>
          <a:endParaRPr lang="hr-HR" sz="1900" kern="1200" dirty="0"/>
        </a:p>
      </dsp:txBody>
      <dsp:txXfrm>
        <a:off x="0" y="119255"/>
        <a:ext cx="8463279" cy="455714"/>
      </dsp:txXfrm>
    </dsp:sp>
    <dsp:sp modelId="{25274722-49C0-4DDD-95B6-E802EA58F1A8}">
      <dsp:nvSpPr>
        <dsp:cNvPr id="0" name=""/>
        <dsp:cNvSpPr/>
      </dsp:nvSpPr>
      <dsp:spPr>
        <a:xfrm>
          <a:off x="0" y="574970"/>
          <a:ext cx="8463279" cy="688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8709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r-HR" sz="1500" b="0" kern="1200" dirty="0" smtClean="0"/>
            <a:t>Završimo do kraja 2018. sve započete projekte OIE </a:t>
          </a:r>
          <a:r>
            <a:rPr lang="hr-HR" sz="1500" kern="1200" dirty="0" smtClean="0"/>
            <a:t>kojima je MINGO izdao EO, time ćemo vratiti povjerenje investitorima u mogućnost i sigurnost investiranja u RH i omogućiti preko 5 milijardi HRK investicija.</a:t>
          </a:r>
          <a:endParaRPr lang="hr-HR" sz="1500" kern="1200" dirty="0"/>
        </a:p>
      </dsp:txBody>
      <dsp:txXfrm>
        <a:off x="0" y="574970"/>
        <a:ext cx="8463279" cy="688274"/>
      </dsp:txXfrm>
    </dsp:sp>
    <dsp:sp modelId="{2273A75C-9565-4D68-995F-DE921B3AAE3D}">
      <dsp:nvSpPr>
        <dsp:cNvPr id="0" name=""/>
        <dsp:cNvSpPr/>
      </dsp:nvSpPr>
      <dsp:spPr>
        <a:xfrm>
          <a:off x="0" y="1263245"/>
          <a:ext cx="8463279" cy="4557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900" b="1" kern="1200" dirty="0" smtClean="0"/>
            <a:t>Uvedimo 20.000 </a:t>
          </a:r>
          <a:r>
            <a:rPr lang="hr-HR" sz="1900" b="1" kern="1200" dirty="0" err="1" smtClean="0"/>
            <a:t>mikrosolara</a:t>
          </a:r>
          <a:r>
            <a:rPr lang="hr-HR" sz="1900" b="1" kern="1200" dirty="0" smtClean="0"/>
            <a:t> (do 5KW) do kraja 2015</a:t>
          </a:r>
          <a:r>
            <a:rPr lang="hr-HR" sz="1900" kern="1200" dirty="0" smtClean="0"/>
            <a:t>. </a:t>
          </a:r>
          <a:endParaRPr lang="hr-HR" sz="1900" kern="1200" dirty="0"/>
        </a:p>
      </dsp:txBody>
      <dsp:txXfrm>
        <a:off x="0" y="1263245"/>
        <a:ext cx="8463279" cy="455714"/>
      </dsp:txXfrm>
    </dsp:sp>
    <dsp:sp modelId="{036C995E-9C59-4217-AFB4-9343122A0DC1}">
      <dsp:nvSpPr>
        <dsp:cNvPr id="0" name=""/>
        <dsp:cNvSpPr/>
      </dsp:nvSpPr>
      <dsp:spPr>
        <a:xfrm>
          <a:off x="0" y="1718960"/>
          <a:ext cx="8463279" cy="9045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8709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r-HR" sz="1500" b="0" kern="1200" dirty="0" smtClean="0"/>
            <a:t>Uvedimo 20.000 </a:t>
          </a:r>
          <a:r>
            <a:rPr lang="hr-HR" sz="1500" b="0" kern="1200" dirty="0" err="1" smtClean="0"/>
            <a:t>mikrosolara</a:t>
          </a:r>
          <a:r>
            <a:rPr lang="hr-HR" sz="1500" b="0" kern="1200" dirty="0" smtClean="0"/>
            <a:t> (do 5KW) do kraja 2015. </a:t>
          </a:r>
          <a:r>
            <a:rPr lang="hr-HR" sz="1500" kern="1200" dirty="0" smtClean="0"/>
            <a:t>uz jednokratnu subvenciju  i 100.000 do kraja 2020. Prva faza uvođenja se odnosi na  </a:t>
          </a:r>
          <a:r>
            <a:rPr lang="hr-HR" sz="1500" kern="1200" dirty="0" err="1" smtClean="0"/>
            <a:t>mikropoduzetnike</a:t>
          </a:r>
          <a:r>
            <a:rPr lang="hr-HR" sz="1500" kern="1200" dirty="0" smtClean="0"/>
            <a:t> čime im olakšavamo poslovanje i otvaramo investicije od preko 1 milijarde HRK domaćeg kapitala i zaposlenja preko 2000 radnika u sektoru obrta i malog poduzetništva. Nakon toga se proširuje na kućanstva.</a:t>
          </a:r>
          <a:endParaRPr lang="hr-HR" sz="1500" kern="1200" dirty="0"/>
        </a:p>
      </dsp:txBody>
      <dsp:txXfrm>
        <a:off x="0" y="1718960"/>
        <a:ext cx="8463279" cy="904589"/>
      </dsp:txXfrm>
    </dsp:sp>
    <dsp:sp modelId="{7886AEDC-CD4A-4988-A21F-723F11D405BB}">
      <dsp:nvSpPr>
        <dsp:cNvPr id="0" name=""/>
        <dsp:cNvSpPr/>
      </dsp:nvSpPr>
      <dsp:spPr>
        <a:xfrm>
          <a:off x="0" y="2623550"/>
          <a:ext cx="8463279" cy="4557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900" b="1" kern="1200" dirty="0" smtClean="0"/>
            <a:t>Izgradimo barem 250MW regulacijske elektrane sa brodskim motorima </a:t>
          </a:r>
          <a:endParaRPr lang="hr-HR" sz="1900" kern="1200" dirty="0"/>
        </a:p>
      </dsp:txBody>
      <dsp:txXfrm>
        <a:off x="0" y="2623550"/>
        <a:ext cx="8463279" cy="455714"/>
      </dsp:txXfrm>
    </dsp:sp>
    <dsp:sp modelId="{09E0A8E3-2162-424B-8338-D1E6D4373957}">
      <dsp:nvSpPr>
        <dsp:cNvPr id="0" name=""/>
        <dsp:cNvSpPr/>
      </dsp:nvSpPr>
      <dsp:spPr>
        <a:xfrm>
          <a:off x="0" y="3079265"/>
          <a:ext cx="8463279" cy="688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8709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r-HR" sz="1500" b="0" kern="1200" dirty="0" smtClean="0"/>
            <a:t>Izgradimo </a:t>
          </a:r>
          <a:r>
            <a:rPr lang="hr-HR" sz="1500" b="0" kern="1200" dirty="0" smtClean="0"/>
            <a:t>barem 250MW regulacijske elektrane sa brodskim motorima </a:t>
          </a:r>
          <a:r>
            <a:rPr lang="hr-HR" sz="1500" kern="1200" dirty="0" smtClean="0"/>
            <a:t>izgrađenim u domaćim tvrtkama pogonjene na tekuće biogorivo ili plin. Domaća industrija može sudjelovati sa 100% učešća i stvoriti novi izvozni proizvod.</a:t>
          </a:r>
          <a:endParaRPr lang="hr-HR" sz="1500" kern="1200" dirty="0"/>
        </a:p>
      </dsp:txBody>
      <dsp:txXfrm>
        <a:off x="0" y="3079265"/>
        <a:ext cx="8463279" cy="688274"/>
      </dsp:txXfrm>
    </dsp:sp>
    <dsp:sp modelId="{85EF30DC-DFC4-4E41-934A-A494405D0125}">
      <dsp:nvSpPr>
        <dsp:cNvPr id="0" name=""/>
        <dsp:cNvSpPr/>
      </dsp:nvSpPr>
      <dsp:spPr>
        <a:xfrm>
          <a:off x="0" y="3767540"/>
          <a:ext cx="8463279" cy="4557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900" b="1" kern="1200" dirty="0" smtClean="0"/>
            <a:t>Izgradimo  novu zatvorenu RHE Jasenica snage 300MW do 2020</a:t>
          </a:r>
          <a:r>
            <a:rPr lang="hr-HR" sz="1900" kern="1200" dirty="0" smtClean="0"/>
            <a:t>. </a:t>
          </a:r>
          <a:endParaRPr lang="hr-HR" sz="1900" kern="1200" dirty="0"/>
        </a:p>
      </dsp:txBody>
      <dsp:txXfrm>
        <a:off x="0" y="3767540"/>
        <a:ext cx="8463279" cy="455714"/>
      </dsp:txXfrm>
    </dsp:sp>
    <dsp:sp modelId="{B8229CB8-B9FA-49D0-AD0D-5DD6E424D1D3}">
      <dsp:nvSpPr>
        <dsp:cNvPr id="0" name=""/>
        <dsp:cNvSpPr/>
      </dsp:nvSpPr>
      <dsp:spPr>
        <a:xfrm>
          <a:off x="0" y="4223255"/>
          <a:ext cx="8463279" cy="688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8709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r-HR" sz="1500" b="0" kern="1200" dirty="0" smtClean="0"/>
            <a:t>Izgradimo  novu zatvorenu RHE Jasenica snage 300MW do 2020. </a:t>
          </a:r>
          <a:r>
            <a:rPr lang="hr-HR" sz="1500" kern="1200" dirty="0" smtClean="0"/>
            <a:t>i proširenjem do maksimalno 1050MW  u 2025. Hrvatska industrija može pružiti preko 80% domaćeg učešća. Rješavamo se nekoliko gorućih ekoloških problema-neka se uključe i EU institucije/fondovi.</a:t>
          </a:r>
          <a:endParaRPr lang="hr-HR" sz="1500" kern="1200" dirty="0"/>
        </a:p>
      </dsp:txBody>
      <dsp:txXfrm>
        <a:off x="0" y="4223255"/>
        <a:ext cx="8463279" cy="68827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A895D48-EF53-48B1-BDCA-71B46DB2DE64}">
      <dsp:nvSpPr>
        <dsp:cNvPr id="0" name=""/>
        <dsp:cNvSpPr/>
      </dsp:nvSpPr>
      <dsp:spPr>
        <a:xfrm>
          <a:off x="0" y="1250"/>
          <a:ext cx="89340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649D73-DDDA-4B95-B8DF-F105DE1C9189}">
      <dsp:nvSpPr>
        <dsp:cNvPr id="0" name=""/>
        <dsp:cNvSpPr/>
      </dsp:nvSpPr>
      <dsp:spPr>
        <a:xfrm>
          <a:off x="0" y="1250"/>
          <a:ext cx="1786801" cy="25594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b="1" kern="1200" dirty="0" smtClean="0"/>
            <a:t>Tehnički problemi</a:t>
          </a:r>
          <a:endParaRPr lang="hr-HR" sz="1800" b="1" kern="1200" dirty="0"/>
        </a:p>
      </dsp:txBody>
      <dsp:txXfrm>
        <a:off x="0" y="1250"/>
        <a:ext cx="1786801" cy="2559449"/>
      </dsp:txXfrm>
    </dsp:sp>
    <dsp:sp modelId="{B7AF23CD-2925-4A72-9ED9-BEBBC3F9AFE4}">
      <dsp:nvSpPr>
        <dsp:cNvPr id="0" name=""/>
        <dsp:cNvSpPr/>
      </dsp:nvSpPr>
      <dsp:spPr>
        <a:xfrm>
          <a:off x="1920811" y="80608"/>
          <a:ext cx="7013196" cy="6342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Ograničena raspoloživa regulacijska snaga u sustavu (P/f sekundarna i tercijarna regulacijska snaga)</a:t>
          </a:r>
          <a:endParaRPr lang="hr-HR" sz="1600" kern="1200" dirty="0"/>
        </a:p>
      </dsp:txBody>
      <dsp:txXfrm>
        <a:off x="1920811" y="80608"/>
        <a:ext cx="7013196" cy="634212"/>
      </dsp:txXfrm>
    </dsp:sp>
    <dsp:sp modelId="{CE4FAA23-CB6E-488E-B856-F7B82D5093D6}">
      <dsp:nvSpPr>
        <dsp:cNvPr id="0" name=""/>
        <dsp:cNvSpPr/>
      </dsp:nvSpPr>
      <dsp:spPr>
        <a:xfrm>
          <a:off x="1786801" y="714821"/>
          <a:ext cx="714720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05870B-6590-4ED4-B132-2CF80356A1D5}">
      <dsp:nvSpPr>
        <dsp:cNvPr id="0" name=""/>
        <dsp:cNvSpPr/>
      </dsp:nvSpPr>
      <dsp:spPr>
        <a:xfrm>
          <a:off x="1920811" y="794179"/>
          <a:ext cx="7013196" cy="4099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Veliki pritisak na HOPS u vidu broja zahtjeva za priključak</a:t>
          </a:r>
          <a:endParaRPr lang="hr-HR" sz="1600" kern="1200" dirty="0"/>
        </a:p>
      </dsp:txBody>
      <dsp:txXfrm>
        <a:off x="1920811" y="794179"/>
        <a:ext cx="7013196" cy="409978"/>
      </dsp:txXfrm>
    </dsp:sp>
    <dsp:sp modelId="{91D5FEE0-8BF9-48FA-A936-2AF693485EDD}">
      <dsp:nvSpPr>
        <dsp:cNvPr id="0" name=""/>
        <dsp:cNvSpPr/>
      </dsp:nvSpPr>
      <dsp:spPr>
        <a:xfrm>
          <a:off x="1786801" y="1204158"/>
          <a:ext cx="714720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94B116-3382-4FE3-B552-13CA73341FDE}">
      <dsp:nvSpPr>
        <dsp:cNvPr id="0" name=""/>
        <dsp:cNvSpPr/>
      </dsp:nvSpPr>
      <dsp:spPr>
        <a:xfrm>
          <a:off x="1920811" y="1283516"/>
          <a:ext cx="7013196" cy="516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Izostanak uređenog sustava pružanja pomoćnih usluga i usluga uravnoteženja unutar elektroenergetskog sustava</a:t>
          </a:r>
          <a:endParaRPr lang="hr-HR" sz="1600" kern="1200" dirty="0"/>
        </a:p>
      </dsp:txBody>
      <dsp:txXfrm>
        <a:off x="1920811" y="1283516"/>
        <a:ext cx="7013196" cy="516604"/>
      </dsp:txXfrm>
    </dsp:sp>
    <dsp:sp modelId="{51386072-F9B2-438D-9CED-A5CEDD17FA5B}">
      <dsp:nvSpPr>
        <dsp:cNvPr id="0" name=""/>
        <dsp:cNvSpPr/>
      </dsp:nvSpPr>
      <dsp:spPr>
        <a:xfrm>
          <a:off x="1786801" y="1800120"/>
          <a:ext cx="714720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1324B7-0E3D-4C0B-B43C-78E387268127}">
      <dsp:nvSpPr>
        <dsp:cNvPr id="0" name=""/>
        <dsp:cNvSpPr/>
      </dsp:nvSpPr>
      <dsp:spPr>
        <a:xfrm>
          <a:off x="1920811" y="1879478"/>
          <a:ext cx="7013196" cy="6008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Nepostojanje obveze  OIE za predviđanjem vlastite proizvodnje</a:t>
          </a:r>
          <a:endParaRPr lang="hr-HR" sz="1600" kern="1200" dirty="0"/>
        </a:p>
      </dsp:txBody>
      <dsp:txXfrm>
        <a:off x="1920811" y="1879478"/>
        <a:ext cx="7013196" cy="600834"/>
      </dsp:txXfrm>
    </dsp:sp>
    <dsp:sp modelId="{76E7B858-36F9-4889-8BED-5BBA760D7E22}">
      <dsp:nvSpPr>
        <dsp:cNvPr id="0" name=""/>
        <dsp:cNvSpPr/>
      </dsp:nvSpPr>
      <dsp:spPr>
        <a:xfrm>
          <a:off x="1786801" y="2480312"/>
          <a:ext cx="714720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A1305B0-254E-4140-926F-16230D24101D}">
      <dsp:nvSpPr>
        <dsp:cNvPr id="0" name=""/>
        <dsp:cNvSpPr/>
      </dsp:nvSpPr>
      <dsp:spPr>
        <a:xfrm>
          <a:off x="0" y="0"/>
          <a:ext cx="860808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7F5237-0324-4260-9793-CB76BF412075}">
      <dsp:nvSpPr>
        <dsp:cNvPr id="0" name=""/>
        <dsp:cNvSpPr/>
      </dsp:nvSpPr>
      <dsp:spPr>
        <a:xfrm>
          <a:off x="0" y="0"/>
          <a:ext cx="1721617" cy="50120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b="1" kern="1200" dirty="0" smtClean="0"/>
            <a:t>Problemi financijske prirode</a:t>
          </a:r>
          <a:endParaRPr lang="hr-HR" sz="1800" b="1" kern="1200" dirty="0"/>
        </a:p>
      </dsp:txBody>
      <dsp:txXfrm>
        <a:off x="0" y="0"/>
        <a:ext cx="1721617" cy="5012045"/>
      </dsp:txXfrm>
    </dsp:sp>
    <dsp:sp modelId="{C0E5ADA6-5626-48CC-8C28-B8D32358EBCE}">
      <dsp:nvSpPr>
        <dsp:cNvPr id="0" name=""/>
        <dsp:cNvSpPr/>
      </dsp:nvSpPr>
      <dsp:spPr>
        <a:xfrm>
          <a:off x="1850739" y="43011"/>
          <a:ext cx="6757349" cy="860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Mala vjerojatnost financiranja projekta kroz kreditiranje od strane komercijalnih banaka, ako projekt nije u kvoti HOPS-a (kvota se ažurira, ali čekanje može biti dugotrajno)</a:t>
          </a:r>
          <a:endParaRPr lang="hr-HR" sz="1600" kern="1200" dirty="0"/>
        </a:p>
      </dsp:txBody>
      <dsp:txXfrm>
        <a:off x="1850739" y="43011"/>
        <a:ext cx="6757349" cy="860221"/>
      </dsp:txXfrm>
    </dsp:sp>
    <dsp:sp modelId="{56FBDD4E-9FCB-49BB-A34B-30F9BF8C8627}">
      <dsp:nvSpPr>
        <dsp:cNvPr id="0" name=""/>
        <dsp:cNvSpPr/>
      </dsp:nvSpPr>
      <dsp:spPr>
        <a:xfrm>
          <a:off x="1721617" y="903232"/>
          <a:ext cx="688647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7592FF-5948-4D2D-9F45-7195B350C743}">
      <dsp:nvSpPr>
        <dsp:cNvPr id="0" name=""/>
        <dsp:cNvSpPr/>
      </dsp:nvSpPr>
      <dsp:spPr>
        <a:xfrm>
          <a:off x="1850739" y="946243"/>
          <a:ext cx="6757349" cy="860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Nositelj projekta mora HROTE-u dostaviti bankovno jamstvo na iznos od 10% vrijednosti investicije u roku od 9 mjeseci od datuma potpisa Ugovora o otkupu el. energije iz </a:t>
          </a:r>
          <a:r>
            <a:rPr lang="hr-HR" sz="1600" kern="1200" dirty="0" err="1" smtClean="0"/>
            <a:t>OiE</a:t>
          </a:r>
          <a:r>
            <a:rPr lang="hr-HR" sz="1600" kern="1200" dirty="0" smtClean="0"/>
            <a:t> bez obzira na kvotu</a:t>
          </a:r>
          <a:endParaRPr lang="hr-HR" sz="1600" kern="1200" dirty="0"/>
        </a:p>
      </dsp:txBody>
      <dsp:txXfrm>
        <a:off x="1850739" y="946243"/>
        <a:ext cx="6757349" cy="860221"/>
      </dsp:txXfrm>
    </dsp:sp>
    <dsp:sp modelId="{14D2FC7D-B492-424C-8089-8A62CF77DF61}">
      <dsp:nvSpPr>
        <dsp:cNvPr id="0" name=""/>
        <dsp:cNvSpPr/>
      </dsp:nvSpPr>
      <dsp:spPr>
        <a:xfrm>
          <a:off x="1721617" y="1806465"/>
          <a:ext cx="688647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26597D-C9BF-4803-91BE-6728A69B2C4A}">
      <dsp:nvSpPr>
        <dsp:cNvPr id="0" name=""/>
        <dsp:cNvSpPr/>
      </dsp:nvSpPr>
      <dsp:spPr>
        <a:xfrm>
          <a:off x="1850739" y="1849476"/>
          <a:ext cx="6757349" cy="860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Nositelj projekta mora HOPS-u priložiti (pred)ugovor o nabavci  vjetroagregata ukoliko želi zadržati mjesto u kvoti za priključak, a s druge strane banke imaju veliko nepovjerenje u dinamiku izvodljivosti i realizaciju projekata </a:t>
          </a:r>
          <a:endParaRPr lang="hr-HR" sz="1600" kern="1200" dirty="0"/>
        </a:p>
      </dsp:txBody>
      <dsp:txXfrm>
        <a:off x="1850739" y="1849476"/>
        <a:ext cx="6757349" cy="860221"/>
      </dsp:txXfrm>
    </dsp:sp>
    <dsp:sp modelId="{10C76201-BE5C-482C-9ED5-6D92C223A528}">
      <dsp:nvSpPr>
        <dsp:cNvPr id="0" name=""/>
        <dsp:cNvSpPr/>
      </dsp:nvSpPr>
      <dsp:spPr>
        <a:xfrm>
          <a:off x="1721617" y="2709698"/>
          <a:ext cx="688647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C46B8F-632C-4DF3-95C4-D3DC1F6A0452}">
      <dsp:nvSpPr>
        <dsp:cNvPr id="0" name=""/>
        <dsp:cNvSpPr/>
      </dsp:nvSpPr>
      <dsp:spPr>
        <a:xfrm>
          <a:off x="1850739" y="2752709"/>
          <a:ext cx="6757349" cy="860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Komercijalne banke financiranje projekata OIE smatraju relativno rizičnim, čak i uz zajamčene cijene otkupa tijekom cijelih 14 godina trajanja ugovora, pa je trošak kapitala u Hrvatskoj znatno veći nego u većini zemalja članica EU</a:t>
          </a:r>
          <a:endParaRPr lang="hr-HR" sz="1600" kern="1200" dirty="0"/>
        </a:p>
      </dsp:txBody>
      <dsp:txXfrm>
        <a:off x="1850739" y="2752709"/>
        <a:ext cx="6757349" cy="860221"/>
      </dsp:txXfrm>
    </dsp:sp>
    <dsp:sp modelId="{F3E9C11B-CFCF-4BE0-A2CB-069269DAC8B1}">
      <dsp:nvSpPr>
        <dsp:cNvPr id="0" name=""/>
        <dsp:cNvSpPr/>
      </dsp:nvSpPr>
      <dsp:spPr>
        <a:xfrm>
          <a:off x="1721617" y="3612930"/>
          <a:ext cx="688647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C6A048-2365-4AD4-8665-1C729990405E}">
      <dsp:nvSpPr>
        <dsp:cNvPr id="0" name=""/>
        <dsp:cNvSpPr/>
      </dsp:nvSpPr>
      <dsp:spPr>
        <a:xfrm>
          <a:off x="1850739" y="3655941"/>
          <a:ext cx="6757349" cy="1308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Troškovi povezani s predviđanjem proizvodnje iz OIE se trenutno ne uzimaju u obzir, a troškovi uravnoteženja su se do sada podmirivali iz poticaja za OIE na razini od 10% otkupne cijene, što u budućnosti s većim udjelom OIE neće biti moguće. Troškovi uravnoteženja povezani su s kvalitetom predviđanja proizvodnje iz OIE, pa je i ovaj financijski aspekt nužno riješiti u cijelosti.</a:t>
          </a:r>
          <a:endParaRPr lang="hr-HR" sz="1600" kern="1200" dirty="0"/>
        </a:p>
      </dsp:txBody>
      <dsp:txXfrm>
        <a:off x="1850739" y="3655941"/>
        <a:ext cx="6757349" cy="1308328"/>
      </dsp:txXfrm>
    </dsp:sp>
    <dsp:sp modelId="{A40AB3B9-1C97-43E2-8B0C-406E81524931}">
      <dsp:nvSpPr>
        <dsp:cNvPr id="0" name=""/>
        <dsp:cNvSpPr/>
      </dsp:nvSpPr>
      <dsp:spPr>
        <a:xfrm>
          <a:off x="1721617" y="4964269"/>
          <a:ext cx="688647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A1305B0-254E-4140-926F-16230D24101D}">
      <dsp:nvSpPr>
        <dsp:cNvPr id="0" name=""/>
        <dsp:cNvSpPr/>
      </dsp:nvSpPr>
      <dsp:spPr>
        <a:xfrm>
          <a:off x="0" y="2802"/>
          <a:ext cx="870712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7F5237-0324-4260-9793-CB76BF412075}">
      <dsp:nvSpPr>
        <dsp:cNvPr id="0" name=""/>
        <dsp:cNvSpPr/>
      </dsp:nvSpPr>
      <dsp:spPr>
        <a:xfrm>
          <a:off x="0" y="2802"/>
          <a:ext cx="1741424" cy="57347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kern="1200" dirty="0" smtClean="0">
              <a:solidFill>
                <a:srgbClr val="0092D2"/>
              </a:solidFill>
            </a:rPr>
            <a:t>Izmjene u Tarifnom sustavu</a:t>
          </a:r>
          <a:endParaRPr lang="hr-HR" sz="2000" b="1" kern="1200" dirty="0">
            <a:solidFill>
              <a:srgbClr val="0092D2"/>
            </a:solidFill>
          </a:endParaRPr>
        </a:p>
      </dsp:txBody>
      <dsp:txXfrm>
        <a:off x="0" y="2802"/>
        <a:ext cx="1741424" cy="5734794"/>
      </dsp:txXfrm>
    </dsp:sp>
    <dsp:sp modelId="{C0E5ADA6-5626-48CC-8C28-B8D32358EBCE}">
      <dsp:nvSpPr>
        <dsp:cNvPr id="0" name=""/>
        <dsp:cNvSpPr/>
      </dsp:nvSpPr>
      <dsp:spPr>
        <a:xfrm>
          <a:off x="1872030" y="31189"/>
          <a:ext cx="6835089" cy="567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U prelaznom periodu do 2017. sukladno preporukama EU direktive redefinirati poticajne cijene za sve vidove OIE</a:t>
          </a:r>
          <a:endParaRPr lang="hr-HR" sz="1600" kern="1200" dirty="0"/>
        </a:p>
      </dsp:txBody>
      <dsp:txXfrm>
        <a:off x="1872030" y="31189"/>
        <a:ext cx="6835089" cy="567739"/>
      </dsp:txXfrm>
    </dsp:sp>
    <dsp:sp modelId="{56FBDD4E-9FCB-49BB-A34B-30F9BF8C8627}">
      <dsp:nvSpPr>
        <dsp:cNvPr id="0" name=""/>
        <dsp:cNvSpPr/>
      </dsp:nvSpPr>
      <dsp:spPr>
        <a:xfrm>
          <a:off x="1741423" y="598928"/>
          <a:ext cx="696569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3725E5-F51D-4233-B014-B7177A95F1C1}">
      <dsp:nvSpPr>
        <dsp:cNvPr id="0" name=""/>
        <dsp:cNvSpPr/>
      </dsp:nvSpPr>
      <dsp:spPr>
        <a:xfrm>
          <a:off x="1872030" y="627315"/>
          <a:ext cx="6835089" cy="567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Uvesti  mogućnost višeslojnog tarifnog modela, poticanje snage i energije</a:t>
          </a:r>
          <a:endParaRPr lang="hr-HR" sz="1600" kern="1200" dirty="0"/>
        </a:p>
      </dsp:txBody>
      <dsp:txXfrm>
        <a:off x="1872030" y="627315"/>
        <a:ext cx="6835089" cy="567739"/>
      </dsp:txXfrm>
    </dsp:sp>
    <dsp:sp modelId="{B8F58205-3C58-49D2-B188-878188937002}">
      <dsp:nvSpPr>
        <dsp:cNvPr id="0" name=""/>
        <dsp:cNvSpPr/>
      </dsp:nvSpPr>
      <dsp:spPr>
        <a:xfrm>
          <a:off x="1741423" y="1195054"/>
          <a:ext cx="696569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D340F4-3F54-4727-9C4A-CF41DD90399F}">
      <dsp:nvSpPr>
        <dsp:cNvPr id="0" name=""/>
        <dsp:cNvSpPr/>
      </dsp:nvSpPr>
      <dsp:spPr>
        <a:xfrm>
          <a:off x="1872030" y="1223441"/>
          <a:ext cx="6835089" cy="567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Uvesti mogućnost jednokratne subvencije </a:t>
          </a:r>
          <a:endParaRPr lang="hr-HR" sz="1600" kern="1200" dirty="0"/>
        </a:p>
      </dsp:txBody>
      <dsp:txXfrm>
        <a:off x="1872030" y="1223441"/>
        <a:ext cx="6835089" cy="567739"/>
      </dsp:txXfrm>
    </dsp:sp>
    <dsp:sp modelId="{C74E0AD9-59CA-43EB-8835-7C8EF770B891}">
      <dsp:nvSpPr>
        <dsp:cNvPr id="0" name=""/>
        <dsp:cNvSpPr/>
      </dsp:nvSpPr>
      <dsp:spPr>
        <a:xfrm>
          <a:off x="1741423" y="1791180"/>
          <a:ext cx="696569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75F5AB-4B5E-4C59-BF80-AA459B07360A}">
      <dsp:nvSpPr>
        <dsp:cNvPr id="0" name=""/>
        <dsp:cNvSpPr/>
      </dsp:nvSpPr>
      <dsp:spPr>
        <a:xfrm>
          <a:off x="1872030" y="1819567"/>
          <a:ext cx="6835089" cy="567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Fiksirati  iznos, učiniti transparentnim  značenje pojma RC-referentne cijene, usuglašavati  sa  proizvodnom cijenom nove konvencionalne  plinske elektrane </a:t>
          </a:r>
          <a:endParaRPr lang="hr-HR" sz="1600" kern="1200" dirty="0"/>
        </a:p>
      </dsp:txBody>
      <dsp:txXfrm>
        <a:off x="1872030" y="1819567"/>
        <a:ext cx="6835089" cy="567739"/>
      </dsp:txXfrm>
    </dsp:sp>
    <dsp:sp modelId="{A11B2BB4-765A-4538-89DC-4A37A551707E}">
      <dsp:nvSpPr>
        <dsp:cNvPr id="0" name=""/>
        <dsp:cNvSpPr/>
      </dsp:nvSpPr>
      <dsp:spPr>
        <a:xfrm>
          <a:off x="1741423" y="2387306"/>
          <a:ext cx="696569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408F82-B915-4A2B-B54C-E4F12833B7D7}">
      <dsp:nvSpPr>
        <dsp:cNvPr id="0" name=""/>
        <dsp:cNvSpPr/>
      </dsp:nvSpPr>
      <dsp:spPr>
        <a:xfrm>
          <a:off x="1872030" y="2415693"/>
          <a:ext cx="6835089" cy="567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smtClean="0"/>
            <a:t>Usuglasiti cijene za OIE sa Metodologijom – koju treba javno obznaniti</a:t>
          </a:r>
          <a:endParaRPr lang="hr-HR" sz="1600" kern="1200" dirty="0"/>
        </a:p>
      </dsp:txBody>
      <dsp:txXfrm>
        <a:off x="1872030" y="2415693"/>
        <a:ext cx="6835089" cy="567739"/>
      </dsp:txXfrm>
    </dsp:sp>
    <dsp:sp modelId="{E0D4B9BA-132C-423E-9C74-109AF2D8E242}">
      <dsp:nvSpPr>
        <dsp:cNvPr id="0" name=""/>
        <dsp:cNvSpPr/>
      </dsp:nvSpPr>
      <dsp:spPr>
        <a:xfrm>
          <a:off x="1741423" y="2983432"/>
          <a:ext cx="696569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07EFE7-2FA4-4573-8384-13B641F583A9}">
      <dsp:nvSpPr>
        <dsp:cNvPr id="0" name=""/>
        <dsp:cNvSpPr/>
      </dsp:nvSpPr>
      <dsp:spPr>
        <a:xfrm>
          <a:off x="1872030" y="3011819"/>
          <a:ext cx="6835089" cy="567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Uvesti definiranje kvota OIE za sve vidove OIE a ne samo za solar</a:t>
          </a:r>
          <a:endParaRPr lang="hr-HR" sz="1600" kern="1200" dirty="0"/>
        </a:p>
      </dsp:txBody>
      <dsp:txXfrm>
        <a:off x="1872030" y="3011819"/>
        <a:ext cx="6835089" cy="567739"/>
      </dsp:txXfrm>
    </dsp:sp>
    <dsp:sp modelId="{6EB5F98D-BE62-40FF-A986-480FC73EF2CE}">
      <dsp:nvSpPr>
        <dsp:cNvPr id="0" name=""/>
        <dsp:cNvSpPr/>
      </dsp:nvSpPr>
      <dsp:spPr>
        <a:xfrm>
          <a:off x="1741423" y="3579558"/>
          <a:ext cx="696569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0CD1DC-3D2A-42A2-A022-E4E0B2DE1CC2}">
      <dsp:nvSpPr>
        <dsp:cNvPr id="0" name=""/>
        <dsp:cNvSpPr/>
      </dsp:nvSpPr>
      <dsp:spPr>
        <a:xfrm>
          <a:off x="1872030" y="3607945"/>
          <a:ext cx="6835089" cy="10364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Ukinuti dvostruko jamstvo za uspješan dovršetak projekata vjetroelektrana jednom kroz 10% bankovne garancije prema HROTE drugi put avansna uplata 10% vrijednosti vjetroturbina proizvođaču</a:t>
          </a:r>
          <a:endParaRPr lang="hr-HR" sz="1600" kern="1200" dirty="0"/>
        </a:p>
      </dsp:txBody>
      <dsp:txXfrm>
        <a:off x="1872030" y="3607945"/>
        <a:ext cx="6835089" cy="1036458"/>
      </dsp:txXfrm>
    </dsp:sp>
    <dsp:sp modelId="{4DD5C6C4-7477-4130-80D3-C610BAFB1B9B}">
      <dsp:nvSpPr>
        <dsp:cNvPr id="0" name=""/>
        <dsp:cNvSpPr/>
      </dsp:nvSpPr>
      <dsp:spPr>
        <a:xfrm>
          <a:off x="1741423" y="4644404"/>
          <a:ext cx="696569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E0349C-19BB-4E5D-A50E-BE33D91790E8}">
      <dsp:nvSpPr>
        <dsp:cNvPr id="0" name=""/>
        <dsp:cNvSpPr/>
      </dsp:nvSpPr>
      <dsp:spPr>
        <a:xfrm>
          <a:off x="1872030" y="4672791"/>
          <a:ext cx="6835089" cy="10306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600" kern="1200" dirty="0" smtClean="0"/>
            <a:t>Destimulirati velike projekte na biomasu koji ne mogu raditi kao učinkovita </a:t>
          </a:r>
          <a:r>
            <a:rPr lang="hr-HR" sz="1600" kern="1200" dirty="0" err="1" smtClean="0"/>
            <a:t>kogeneracija</a:t>
          </a:r>
          <a:r>
            <a:rPr lang="hr-HR" sz="1600" kern="1200" dirty="0" smtClean="0"/>
            <a:t>. Favorizirati više manjih (do </a:t>
          </a:r>
          <a:r>
            <a:rPr lang="hr-HR" sz="1600" kern="1200" dirty="0" err="1" smtClean="0"/>
            <a:t>max</a:t>
          </a:r>
          <a:r>
            <a:rPr lang="hr-HR" sz="1600" kern="1200" dirty="0" smtClean="0"/>
            <a:t>. 1MW) </a:t>
          </a:r>
          <a:r>
            <a:rPr lang="hr-HR" sz="1600" kern="1200" dirty="0" err="1" smtClean="0"/>
            <a:t>kogeneracijskih</a:t>
          </a:r>
          <a:r>
            <a:rPr lang="hr-HR" sz="1600" kern="1200" dirty="0" smtClean="0"/>
            <a:t> postrojenja na biomasu i ostatke komunalnog otpada-RDF</a:t>
          </a:r>
          <a:endParaRPr lang="hr-HR" sz="1600" kern="1200" dirty="0"/>
        </a:p>
      </dsp:txBody>
      <dsp:txXfrm>
        <a:off x="1872030" y="4672791"/>
        <a:ext cx="6835089" cy="1030645"/>
      </dsp:txXfrm>
    </dsp:sp>
    <dsp:sp modelId="{04878D61-81FE-4F13-ACB1-BE78B26D75F1}">
      <dsp:nvSpPr>
        <dsp:cNvPr id="0" name=""/>
        <dsp:cNvSpPr/>
      </dsp:nvSpPr>
      <dsp:spPr>
        <a:xfrm>
          <a:off x="1741423" y="5703436"/>
          <a:ext cx="696569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A738299-58E5-4AD0-94BA-00127CCFF636}">
      <dsp:nvSpPr>
        <dsp:cNvPr id="0" name=""/>
        <dsp:cNvSpPr/>
      </dsp:nvSpPr>
      <dsp:spPr>
        <a:xfrm>
          <a:off x="0" y="590"/>
          <a:ext cx="88680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CA5702-5BD7-4279-894D-228F061DAE22}">
      <dsp:nvSpPr>
        <dsp:cNvPr id="0" name=""/>
        <dsp:cNvSpPr/>
      </dsp:nvSpPr>
      <dsp:spPr>
        <a:xfrm>
          <a:off x="0" y="590"/>
          <a:ext cx="1773606" cy="12078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b="1" kern="1200" dirty="0" smtClean="0"/>
            <a:t>Tehničke mjere potrebne za veću integraciju  OIE u EES</a:t>
          </a:r>
          <a:endParaRPr lang="hr-HR" sz="1800" kern="1200" dirty="0"/>
        </a:p>
      </dsp:txBody>
      <dsp:txXfrm>
        <a:off x="0" y="590"/>
        <a:ext cx="1773606" cy="1207859"/>
      </dsp:txXfrm>
    </dsp:sp>
    <dsp:sp modelId="{27BE26A3-FDC1-401D-9940-9C84458C32F0}">
      <dsp:nvSpPr>
        <dsp:cNvPr id="0" name=""/>
        <dsp:cNvSpPr/>
      </dsp:nvSpPr>
      <dsp:spPr>
        <a:xfrm>
          <a:off x="1906626" y="24830"/>
          <a:ext cx="6961405" cy="3532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Izgradnja ili uključivanje postojećih proizvodnih objekata u sustav P/f regulacije,</a:t>
          </a:r>
          <a:endParaRPr lang="hr-HR" sz="1400" kern="1200" dirty="0"/>
        </a:p>
      </dsp:txBody>
      <dsp:txXfrm>
        <a:off x="1906626" y="24830"/>
        <a:ext cx="6961405" cy="353255"/>
      </dsp:txXfrm>
    </dsp:sp>
    <dsp:sp modelId="{AF7077A7-B486-4EAC-AC93-3E54B14979C8}">
      <dsp:nvSpPr>
        <dsp:cNvPr id="0" name=""/>
        <dsp:cNvSpPr/>
      </dsp:nvSpPr>
      <dsp:spPr>
        <a:xfrm>
          <a:off x="1773606" y="378085"/>
          <a:ext cx="70944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B4F663-2E1E-4EE6-9928-3D94465D2D6A}">
      <dsp:nvSpPr>
        <dsp:cNvPr id="0" name=""/>
        <dsp:cNvSpPr/>
      </dsp:nvSpPr>
      <dsp:spPr>
        <a:xfrm>
          <a:off x="1906626" y="402325"/>
          <a:ext cx="6961405" cy="4847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Uvesti obvezu predviđanja proizvodnje iz OIE kako bi se smanjila pogreška predviđanja i nepredviđena promjenjivost proizvodnje OIE,</a:t>
          </a:r>
          <a:endParaRPr lang="hr-HR" sz="1400" kern="1200" dirty="0"/>
        </a:p>
      </dsp:txBody>
      <dsp:txXfrm>
        <a:off x="1906626" y="402325"/>
        <a:ext cx="6961405" cy="484795"/>
      </dsp:txXfrm>
    </dsp:sp>
    <dsp:sp modelId="{283CC9ED-9870-4FB9-9EF1-A182E9851ECE}">
      <dsp:nvSpPr>
        <dsp:cNvPr id="0" name=""/>
        <dsp:cNvSpPr/>
      </dsp:nvSpPr>
      <dsp:spPr>
        <a:xfrm>
          <a:off x="1773606" y="887120"/>
          <a:ext cx="70944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CBE2CB-E31B-41C4-A348-D40C888AB017}">
      <dsp:nvSpPr>
        <dsp:cNvPr id="0" name=""/>
        <dsp:cNvSpPr/>
      </dsp:nvSpPr>
      <dsp:spPr>
        <a:xfrm>
          <a:off x="1906626" y="911360"/>
          <a:ext cx="6961405" cy="2723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Uvesti održivi sustav pružanja pomoćnih usluga.</a:t>
          </a:r>
          <a:endParaRPr lang="hr-HR" sz="1400" kern="1200" dirty="0"/>
        </a:p>
      </dsp:txBody>
      <dsp:txXfrm>
        <a:off x="1906626" y="911360"/>
        <a:ext cx="6961405" cy="272338"/>
      </dsp:txXfrm>
    </dsp:sp>
    <dsp:sp modelId="{4D953D42-650C-4FF1-B980-2689131B1270}">
      <dsp:nvSpPr>
        <dsp:cNvPr id="0" name=""/>
        <dsp:cNvSpPr/>
      </dsp:nvSpPr>
      <dsp:spPr>
        <a:xfrm>
          <a:off x="1773606" y="1183698"/>
          <a:ext cx="70944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1842772-40DC-42F5-9C6A-7F30A0C9C754}">
      <dsp:nvSpPr>
        <dsp:cNvPr id="0" name=""/>
        <dsp:cNvSpPr/>
      </dsp:nvSpPr>
      <dsp:spPr>
        <a:xfrm>
          <a:off x="0" y="12491"/>
          <a:ext cx="892249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4C637A-6658-4F0D-A80A-F87327424D5F}">
      <dsp:nvSpPr>
        <dsp:cNvPr id="0" name=""/>
        <dsp:cNvSpPr/>
      </dsp:nvSpPr>
      <dsp:spPr>
        <a:xfrm>
          <a:off x="0" y="2128"/>
          <a:ext cx="1784498" cy="43543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b="1" kern="1200" dirty="0" smtClean="0"/>
            <a:t>Administrativne i organizacijske mjere za veću integraciju  OIE u EES</a:t>
          </a:r>
          <a:endParaRPr lang="hr-HR" sz="1800" kern="1200" dirty="0"/>
        </a:p>
      </dsp:txBody>
      <dsp:txXfrm>
        <a:off x="0" y="2128"/>
        <a:ext cx="1784498" cy="4354383"/>
      </dsp:txXfrm>
    </dsp:sp>
    <dsp:sp modelId="{EB59EBFC-AC35-4A91-AE5A-2DBDF06B1B3D}">
      <dsp:nvSpPr>
        <dsp:cNvPr id="0" name=""/>
        <dsp:cNvSpPr/>
      </dsp:nvSpPr>
      <dsp:spPr>
        <a:xfrm>
          <a:off x="1918335" y="39708"/>
          <a:ext cx="7004156" cy="2966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Za projekte koji imaju potpisane Ugovore o otkupu </a:t>
          </a:r>
          <a:r>
            <a:rPr lang="hr-HR" sz="1300" kern="1200" dirty="0" err="1" smtClean="0"/>
            <a:t>ele</a:t>
          </a:r>
          <a:r>
            <a:rPr lang="hr-HR" sz="1300" kern="1200" dirty="0" smtClean="0"/>
            <a:t>. energije ukinuti odredbe ograničenja Kvote</a:t>
          </a:r>
          <a:endParaRPr lang="hr-HR" sz="1300" kern="1200" dirty="0"/>
        </a:p>
      </dsp:txBody>
      <dsp:txXfrm>
        <a:off x="1918335" y="39708"/>
        <a:ext cx="7004156" cy="296641"/>
      </dsp:txXfrm>
    </dsp:sp>
    <dsp:sp modelId="{E16606CE-0031-4905-B4BF-EA792DCA67E4}">
      <dsp:nvSpPr>
        <dsp:cNvPr id="0" name=""/>
        <dsp:cNvSpPr/>
      </dsp:nvSpPr>
      <dsp:spPr>
        <a:xfrm>
          <a:off x="1784498" y="336349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4F2722-3F31-46FA-82B5-CC680D70D5E8}">
      <dsp:nvSpPr>
        <dsp:cNvPr id="0" name=""/>
        <dsp:cNvSpPr/>
      </dsp:nvSpPr>
      <dsp:spPr>
        <a:xfrm>
          <a:off x="1918335" y="373929"/>
          <a:ext cx="7004156" cy="4555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Uvesti promjene u administrativnu proceduru stjecanja statusa povlaštenog proizvođača u smislu smanjenja broja uključenih institucija na minimum. </a:t>
          </a:r>
          <a:endParaRPr lang="hr-HR" sz="1300" kern="1200" dirty="0"/>
        </a:p>
      </dsp:txBody>
      <dsp:txXfrm>
        <a:off x="1918335" y="373929"/>
        <a:ext cx="7004156" cy="455514"/>
      </dsp:txXfrm>
    </dsp:sp>
    <dsp:sp modelId="{8164E51D-D9DC-4FCD-BBF4-C8195D7C507B}">
      <dsp:nvSpPr>
        <dsp:cNvPr id="0" name=""/>
        <dsp:cNvSpPr/>
      </dsp:nvSpPr>
      <dsp:spPr>
        <a:xfrm>
          <a:off x="1784498" y="869108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74DAC7-B532-48FE-AC5C-1277069ED52B}">
      <dsp:nvSpPr>
        <dsp:cNvPr id="0" name=""/>
        <dsp:cNvSpPr/>
      </dsp:nvSpPr>
      <dsp:spPr>
        <a:xfrm>
          <a:off x="1918335" y="867023"/>
          <a:ext cx="7004156" cy="2743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Dovršiti, usvojiti i primijeniti Zakon o obnovljivim izvorima energije, </a:t>
          </a:r>
          <a:endParaRPr lang="hr-HR" sz="1300" kern="1200" dirty="0"/>
        </a:p>
      </dsp:txBody>
      <dsp:txXfrm>
        <a:off x="1918335" y="867023"/>
        <a:ext cx="7004156" cy="274363"/>
      </dsp:txXfrm>
    </dsp:sp>
    <dsp:sp modelId="{6F543459-C8E2-47C8-AA25-4CE1E6255451}">
      <dsp:nvSpPr>
        <dsp:cNvPr id="0" name=""/>
        <dsp:cNvSpPr/>
      </dsp:nvSpPr>
      <dsp:spPr>
        <a:xfrm>
          <a:off x="1784498" y="1141386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7BE0CE-9F3B-4058-AD47-B9A066B5DEA1}">
      <dsp:nvSpPr>
        <dsp:cNvPr id="0" name=""/>
        <dsp:cNvSpPr/>
      </dsp:nvSpPr>
      <dsp:spPr>
        <a:xfrm>
          <a:off x="1918335" y="1178966"/>
          <a:ext cx="7004156" cy="4863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U području zaštite okoliša donijeti jasne i nedvosmislene kriterije za uvrštavanje lokacija  OIE u prostorne planove</a:t>
          </a:r>
          <a:endParaRPr lang="hr-HR" sz="1300" kern="1200" dirty="0"/>
        </a:p>
      </dsp:txBody>
      <dsp:txXfrm>
        <a:off x="1918335" y="1178966"/>
        <a:ext cx="7004156" cy="486352"/>
      </dsp:txXfrm>
    </dsp:sp>
    <dsp:sp modelId="{2E1BC2D6-D488-4DB7-AE6A-DB4697B9B0E5}">
      <dsp:nvSpPr>
        <dsp:cNvPr id="0" name=""/>
        <dsp:cNvSpPr/>
      </dsp:nvSpPr>
      <dsp:spPr>
        <a:xfrm>
          <a:off x="1784498" y="1665318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C0C664-330F-42BD-AA48-057880D1F0F8}">
      <dsp:nvSpPr>
        <dsp:cNvPr id="0" name=""/>
        <dsp:cNvSpPr/>
      </dsp:nvSpPr>
      <dsp:spPr>
        <a:xfrm>
          <a:off x="1918335" y="1702898"/>
          <a:ext cx="7004156" cy="3250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Ukinuti  odredbu o javnom natječaju za dodjelu priključka i prava građenja na državnom zemljištu.</a:t>
          </a:r>
          <a:endParaRPr lang="hr-HR" sz="1300" kern="1200" dirty="0"/>
        </a:p>
      </dsp:txBody>
      <dsp:txXfrm>
        <a:off x="1918335" y="1702898"/>
        <a:ext cx="7004156" cy="325066"/>
      </dsp:txXfrm>
    </dsp:sp>
    <dsp:sp modelId="{84F6543A-09E3-4D22-BB7F-ECA903320EA2}">
      <dsp:nvSpPr>
        <dsp:cNvPr id="0" name=""/>
        <dsp:cNvSpPr/>
      </dsp:nvSpPr>
      <dsp:spPr>
        <a:xfrm>
          <a:off x="1784498" y="2071663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2D0706-9D94-426D-B4D8-E8472C40EBEE}">
      <dsp:nvSpPr>
        <dsp:cNvPr id="0" name=""/>
        <dsp:cNvSpPr/>
      </dsp:nvSpPr>
      <dsp:spPr>
        <a:xfrm>
          <a:off x="1918335" y="2065545"/>
          <a:ext cx="7004156" cy="3943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Dovršiti i korigirati Nacionalni akcijski plan za </a:t>
          </a:r>
          <a:r>
            <a:rPr lang="hr-HR" sz="1300" kern="1200" dirty="0" err="1" smtClean="0"/>
            <a:t>OiE</a:t>
          </a:r>
          <a:r>
            <a:rPr lang="hr-HR" sz="1300" kern="1200" dirty="0" smtClean="0"/>
            <a:t> te ga uskladiti sa zahtjevima Strategije energetskog razvoja, a paralelno raditi na izmjeni Strategije </a:t>
          </a:r>
          <a:endParaRPr lang="hr-HR" sz="1300" kern="1200" dirty="0"/>
        </a:p>
      </dsp:txBody>
      <dsp:txXfrm>
        <a:off x="1918335" y="2065545"/>
        <a:ext cx="7004156" cy="394371"/>
      </dsp:txXfrm>
    </dsp:sp>
    <dsp:sp modelId="{449136F5-0443-4772-ABC6-28A9F1C05D6C}">
      <dsp:nvSpPr>
        <dsp:cNvPr id="0" name=""/>
        <dsp:cNvSpPr/>
      </dsp:nvSpPr>
      <dsp:spPr>
        <a:xfrm>
          <a:off x="1784498" y="2513774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61FAAF-4B68-4454-97C2-BE153BD5DAF3}">
      <dsp:nvSpPr>
        <dsp:cNvPr id="0" name=""/>
        <dsp:cNvSpPr/>
      </dsp:nvSpPr>
      <dsp:spPr>
        <a:xfrm>
          <a:off x="1918335" y="2497496"/>
          <a:ext cx="7004156" cy="4600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Usvojiti Metodologiju za izračun referentnih troškova proizvodnje energije iz </a:t>
          </a:r>
          <a:r>
            <a:rPr lang="hr-HR" sz="1300" kern="1200" dirty="0" err="1" smtClean="0"/>
            <a:t>OiE</a:t>
          </a:r>
          <a:r>
            <a:rPr lang="hr-HR" sz="1300" kern="1200" dirty="0" smtClean="0"/>
            <a:t> i kogeneracije (Metodologija)</a:t>
          </a:r>
          <a:endParaRPr lang="hr-HR" sz="1300" kern="1200" dirty="0"/>
        </a:p>
      </dsp:txBody>
      <dsp:txXfrm>
        <a:off x="1918335" y="2497496"/>
        <a:ext cx="7004156" cy="460001"/>
      </dsp:txXfrm>
    </dsp:sp>
    <dsp:sp modelId="{004C6427-5EDF-4A5B-8C2F-04706423A89A}">
      <dsp:nvSpPr>
        <dsp:cNvPr id="0" name=""/>
        <dsp:cNvSpPr/>
      </dsp:nvSpPr>
      <dsp:spPr>
        <a:xfrm>
          <a:off x="1784498" y="2957497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43C9EC-2AED-4ECB-8740-0BAED8980666}">
      <dsp:nvSpPr>
        <dsp:cNvPr id="0" name=""/>
        <dsp:cNvSpPr/>
      </dsp:nvSpPr>
      <dsp:spPr>
        <a:xfrm>
          <a:off x="1918335" y="2995077"/>
          <a:ext cx="7004156" cy="4127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Usvojiti Program državnih potpora za proizvodnju električne energije iz </a:t>
          </a:r>
          <a:r>
            <a:rPr lang="hr-HR" sz="1300" kern="1200" dirty="0" err="1" smtClean="0"/>
            <a:t>OiE</a:t>
          </a:r>
          <a:r>
            <a:rPr lang="hr-HR" sz="1300" kern="1200" dirty="0" smtClean="0"/>
            <a:t> i kogeneracije (Program)</a:t>
          </a:r>
          <a:endParaRPr lang="hr-HR" sz="1300" kern="1200" dirty="0"/>
        </a:p>
      </dsp:txBody>
      <dsp:txXfrm>
        <a:off x="1918335" y="2995077"/>
        <a:ext cx="7004156" cy="412733"/>
      </dsp:txXfrm>
    </dsp:sp>
    <dsp:sp modelId="{821116B9-2534-4293-94E5-5E0D881AC319}">
      <dsp:nvSpPr>
        <dsp:cNvPr id="0" name=""/>
        <dsp:cNvSpPr/>
      </dsp:nvSpPr>
      <dsp:spPr>
        <a:xfrm>
          <a:off x="1784498" y="3407810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39A21E-42B2-425C-95C1-4616C8BC4BB3}">
      <dsp:nvSpPr>
        <dsp:cNvPr id="0" name=""/>
        <dsp:cNvSpPr/>
      </dsp:nvSpPr>
      <dsp:spPr>
        <a:xfrm>
          <a:off x="1918335" y="3445390"/>
          <a:ext cx="7004156" cy="4425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Revidirati tarifni sustav (</a:t>
          </a:r>
          <a:r>
            <a:rPr lang="hr-HR" sz="1300" kern="1200" dirty="0" err="1" smtClean="0"/>
            <a:t>dvo</a:t>
          </a:r>
          <a:r>
            <a:rPr lang="hr-HR" sz="1300" kern="1200" dirty="0" smtClean="0"/>
            <a:t>- ili više-</a:t>
          </a:r>
          <a:r>
            <a:rPr lang="hr-HR" sz="1300" kern="1200" dirty="0" err="1" smtClean="0"/>
            <a:t>tarfini</a:t>
          </a:r>
          <a:r>
            <a:rPr lang="hr-HR" sz="1300" kern="1200" dirty="0" smtClean="0"/>
            <a:t> sustav) i uskladiti sa Metodologijom i Programom  za pojedini vid izvora </a:t>
          </a:r>
          <a:r>
            <a:rPr lang="hr-HR" sz="1300" kern="1200" dirty="0" err="1" smtClean="0"/>
            <a:t>OiE</a:t>
          </a:r>
          <a:r>
            <a:rPr lang="hr-HR" sz="1300" kern="1200" dirty="0" smtClean="0"/>
            <a:t>, a ujedno spriječiti stvaranje ekstra profita iz javnog novca.</a:t>
          </a:r>
          <a:endParaRPr lang="hr-HR" sz="1300" kern="1200" dirty="0"/>
        </a:p>
      </dsp:txBody>
      <dsp:txXfrm>
        <a:off x="1918335" y="3445390"/>
        <a:ext cx="7004156" cy="442548"/>
      </dsp:txXfrm>
    </dsp:sp>
    <dsp:sp modelId="{1BF35C0E-D2B6-44B2-B821-775170F6688C}">
      <dsp:nvSpPr>
        <dsp:cNvPr id="0" name=""/>
        <dsp:cNvSpPr/>
      </dsp:nvSpPr>
      <dsp:spPr>
        <a:xfrm>
          <a:off x="1784498" y="3887939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70BBD2-30F7-4E08-8A71-FCC2CF1D9CA8}">
      <dsp:nvSpPr>
        <dsp:cNvPr id="0" name=""/>
        <dsp:cNvSpPr/>
      </dsp:nvSpPr>
      <dsp:spPr>
        <a:xfrm>
          <a:off x="1918335" y="3925519"/>
          <a:ext cx="7004156" cy="3890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Revidirati projekte i osigurati transparentnost izdavanja dozvola.</a:t>
          </a:r>
          <a:endParaRPr lang="hr-HR" sz="1300" kern="1200" dirty="0"/>
        </a:p>
      </dsp:txBody>
      <dsp:txXfrm>
        <a:off x="1918335" y="3925519"/>
        <a:ext cx="7004156" cy="389050"/>
      </dsp:txXfrm>
    </dsp:sp>
    <dsp:sp modelId="{CA30721E-DD46-427F-A132-6488C2A70A35}">
      <dsp:nvSpPr>
        <dsp:cNvPr id="0" name=""/>
        <dsp:cNvSpPr/>
      </dsp:nvSpPr>
      <dsp:spPr>
        <a:xfrm>
          <a:off x="1784498" y="4314569"/>
          <a:ext cx="713799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66EAC21-317C-4717-B1A9-C57165E78D08}">
      <dsp:nvSpPr>
        <dsp:cNvPr id="0" name=""/>
        <dsp:cNvSpPr/>
      </dsp:nvSpPr>
      <dsp:spPr>
        <a:xfrm>
          <a:off x="0" y="0"/>
          <a:ext cx="856488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25345D-BF87-4E32-BA5B-965D766AA67C}">
      <dsp:nvSpPr>
        <dsp:cNvPr id="0" name=""/>
        <dsp:cNvSpPr/>
      </dsp:nvSpPr>
      <dsp:spPr>
        <a:xfrm>
          <a:off x="0" y="0"/>
          <a:ext cx="1712976" cy="4866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 smtClean="0"/>
            <a:t>Ministarstvo gospodarstva</a:t>
          </a:r>
          <a:endParaRPr lang="hr-HR" sz="2000" b="1" kern="1200" dirty="0"/>
        </a:p>
      </dsp:txBody>
      <dsp:txXfrm>
        <a:off x="0" y="0"/>
        <a:ext cx="1712976" cy="4866640"/>
      </dsp:txXfrm>
    </dsp:sp>
    <dsp:sp modelId="{3B6E5102-FD33-4C65-BCF3-2610902F9C76}">
      <dsp:nvSpPr>
        <dsp:cNvPr id="0" name=""/>
        <dsp:cNvSpPr/>
      </dsp:nvSpPr>
      <dsp:spPr>
        <a:xfrm>
          <a:off x="1841449" y="36773"/>
          <a:ext cx="6723430" cy="735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Definirati selekcijske kriterije i brisati projekte iz registra i s liste za priključak koji nisu ishodili potrebne dozvole u propisanim rokovima</a:t>
          </a:r>
          <a:endParaRPr lang="hr-HR" sz="1000" kern="1200" dirty="0"/>
        </a:p>
      </dsp:txBody>
      <dsp:txXfrm>
        <a:off x="1841449" y="36773"/>
        <a:ext cx="6723430" cy="735461"/>
      </dsp:txXfrm>
    </dsp:sp>
    <dsp:sp modelId="{CDB3CD81-4606-4C4A-8971-785341FB88EF}">
      <dsp:nvSpPr>
        <dsp:cNvPr id="0" name=""/>
        <dsp:cNvSpPr/>
      </dsp:nvSpPr>
      <dsp:spPr>
        <a:xfrm>
          <a:off x="1712975" y="772234"/>
          <a:ext cx="6851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9AC560-B718-4D08-9998-14707DB6A9AA}">
      <dsp:nvSpPr>
        <dsp:cNvPr id="0" name=""/>
        <dsp:cNvSpPr/>
      </dsp:nvSpPr>
      <dsp:spPr>
        <a:xfrm>
          <a:off x="1841449" y="809007"/>
          <a:ext cx="6723430" cy="735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Dovršiti, usvojiti i primijeniti Zakon o obnovljivim izvorima energije te uvesti obvezu predviđanja proizvodnje iz OIE</a:t>
          </a:r>
          <a:endParaRPr lang="hr-HR" sz="1400" kern="1200" dirty="0"/>
        </a:p>
      </dsp:txBody>
      <dsp:txXfrm>
        <a:off x="1841449" y="809007"/>
        <a:ext cx="6723430" cy="735461"/>
      </dsp:txXfrm>
    </dsp:sp>
    <dsp:sp modelId="{C4BDBEF8-7618-4E9D-8887-AC02EB7C1CE3}">
      <dsp:nvSpPr>
        <dsp:cNvPr id="0" name=""/>
        <dsp:cNvSpPr/>
      </dsp:nvSpPr>
      <dsp:spPr>
        <a:xfrm>
          <a:off x="1712975" y="1544469"/>
          <a:ext cx="6851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B6D06C-CEC1-41E7-AA11-071FACAF840B}">
      <dsp:nvSpPr>
        <dsp:cNvPr id="0" name=""/>
        <dsp:cNvSpPr/>
      </dsp:nvSpPr>
      <dsp:spPr>
        <a:xfrm>
          <a:off x="1841449" y="1581242"/>
          <a:ext cx="6723430" cy="735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Usvojiti Metodologiju za izračun referentnih troškova proizvodnje energije iz OIE i kogeneracije</a:t>
          </a:r>
          <a:endParaRPr lang="hr-HR" sz="1400" kern="1200" dirty="0"/>
        </a:p>
      </dsp:txBody>
      <dsp:txXfrm>
        <a:off x="1841449" y="1581242"/>
        <a:ext cx="6723430" cy="735461"/>
      </dsp:txXfrm>
    </dsp:sp>
    <dsp:sp modelId="{A529F6CF-5CC1-4442-AD0F-D7BCBA3054E7}">
      <dsp:nvSpPr>
        <dsp:cNvPr id="0" name=""/>
        <dsp:cNvSpPr/>
      </dsp:nvSpPr>
      <dsp:spPr>
        <a:xfrm>
          <a:off x="1712975" y="2316704"/>
          <a:ext cx="6851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A578BE-5C8F-4B89-BF24-53B4D200D0F6}">
      <dsp:nvSpPr>
        <dsp:cNvPr id="0" name=""/>
        <dsp:cNvSpPr/>
      </dsp:nvSpPr>
      <dsp:spPr>
        <a:xfrm>
          <a:off x="1841449" y="2353477"/>
          <a:ext cx="6723430" cy="735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Usvojiti Program državnih potpora za proizvodnju električne energije iz OIE i kogeneracije</a:t>
          </a:r>
          <a:endParaRPr lang="hr-HR" sz="1400" kern="1200" dirty="0"/>
        </a:p>
      </dsp:txBody>
      <dsp:txXfrm>
        <a:off x="1841449" y="2353477"/>
        <a:ext cx="6723430" cy="735461"/>
      </dsp:txXfrm>
    </dsp:sp>
    <dsp:sp modelId="{C8E6B7CB-2828-4F61-8E67-47315A9A1F2C}">
      <dsp:nvSpPr>
        <dsp:cNvPr id="0" name=""/>
        <dsp:cNvSpPr/>
      </dsp:nvSpPr>
      <dsp:spPr>
        <a:xfrm>
          <a:off x="1712975" y="3088938"/>
          <a:ext cx="6851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68DEF3-F54D-4E90-BE3F-C3F66D6411DF}">
      <dsp:nvSpPr>
        <dsp:cNvPr id="0" name=""/>
        <dsp:cNvSpPr/>
      </dsp:nvSpPr>
      <dsp:spPr>
        <a:xfrm>
          <a:off x="1841449" y="3125711"/>
          <a:ext cx="6723430" cy="9257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Revidirati NAP i Tarifni sustav i uskladiti sa Strategijom energetskog razvoja kao i sa Metodologijom i Programom i omogućiti razvoj i dovršetak komercijalno atraktivnih projekata</a:t>
          </a:r>
          <a:endParaRPr lang="hr-HR" sz="1400" kern="1200" dirty="0"/>
        </a:p>
      </dsp:txBody>
      <dsp:txXfrm>
        <a:off x="1841449" y="3125711"/>
        <a:ext cx="6723430" cy="925747"/>
      </dsp:txXfrm>
    </dsp:sp>
    <dsp:sp modelId="{C5AD2466-F089-45AC-8633-DC296C75F1E0}">
      <dsp:nvSpPr>
        <dsp:cNvPr id="0" name=""/>
        <dsp:cNvSpPr/>
      </dsp:nvSpPr>
      <dsp:spPr>
        <a:xfrm>
          <a:off x="1712975" y="4051459"/>
          <a:ext cx="6851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EA6DF0-BCB8-4A60-8D4E-42F1ECB93DC7}">
      <dsp:nvSpPr>
        <dsp:cNvPr id="0" name=""/>
        <dsp:cNvSpPr/>
      </dsp:nvSpPr>
      <dsp:spPr>
        <a:xfrm>
          <a:off x="1841449" y="4088232"/>
          <a:ext cx="6723430" cy="7354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400" kern="1200" dirty="0" smtClean="0"/>
            <a:t>Uvesti mjeru definiranja kvote za sve vidove </a:t>
          </a:r>
          <a:r>
            <a:rPr lang="hr-HR" sz="1400" kern="1200" dirty="0" err="1" smtClean="0"/>
            <a:t>OIEu</a:t>
          </a:r>
          <a:r>
            <a:rPr lang="hr-HR" sz="1400" kern="1200" dirty="0" smtClean="0"/>
            <a:t> sklopu Tarifnog sustava, a ne samo za </a:t>
          </a:r>
          <a:r>
            <a:rPr lang="hr-HR" sz="1400" kern="1200" dirty="0" err="1" smtClean="0"/>
            <a:t>solare</a:t>
          </a:r>
          <a:r>
            <a:rPr lang="hr-HR" sz="1400" kern="1200" dirty="0" smtClean="0"/>
            <a:t>. </a:t>
          </a:r>
          <a:endParaRPr lang="hr-HR" sz="1400" kern="1200" dirty="0"/>
        </a:p>
      </dsp:txBody>
      <dsp:txXfrm>
        <a:off x="1841449" y="4088232"/>
        <a:ext cx="6723430" cy="735461"/>
      </dsp:txXfrm>
    </dsp:sp>
    <dsp:sp modelId="{B494F67B-B036-4A48-8EBE-22DAD2245DAE}">
      <dsp:nvSpPr>
        <dsp:cNvPr id="0" name=""/>
        <dsp:cNvSpPr/>
      </dsp:nvSpPr>
      <dsp:spPr>
        <a:xfrm>
          <a:off x="1712975" y="4823694"/>
          <a:ext cx="6851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F542A9E-2925-489E-900E-F9235F484C39}">
      <dsp:nvSpPr>
        <dsp:cNvPr id="0" name=""/>
        <dsp:cNvSpPr/>
      </dsp:nvSpPr>
      <dsp:spPr>
        <a:xfrm>
          <a:off x="0" y="0"/>
          <a:ext cx="87051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936B51-6B0F-4121-A1EB-B15930E3FF82}">
      <dsp:nvSpPr>
        <dsp:cNvPr id="0" name=""/>
        <dsp:cNvSpPr/>
      </dsp:nvSpPr>
      <dsp:spPr>
        <a:xfrm>
          <a:off x="0" y="0"/>
          <a:ext cx="1741032" cy="10210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 smtClean="0"/>
            <a:t>HOPS</a:t>
          </a:r>
          <a:endParaRPr lang="hr-HR" sz="2000" b="1" kern="1200" dirty="0"/>
        </a:p>
      </dsp:txBody>
      <dsp:txXfrm>
        <a:off x="0" y="0"/>
        <a:ext cx="1741032" cy="1021079"/>
      </dsp:txXfrm>
    </dsp:sp>
    <dsp:sp modelId="{3CD24643-0E29-416D-8E41-937DD5837B07}">
      <dsp:nvSpPr>
        <dsp:cNvPr id="0" name=""/>
        <dsp:cNvSpPr/>
      </dsp:nvSpPr>
      <dsp:spPr>
        <a:xfrm>
          <a:off x="1871609" y="13611"/>
          <a:ext cx="6833550" cy="272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Izraditi prijedlog metodologije/pravilnika za nabavu i pružanje pomoćnih usluga</a:t>
          </a:r>
          <a:endParaRPr lang="hr-HR" sz="1300" kern="1200" dirty="0"/>
        </a:p>
      </dsp:txBody>
      <dsp:txXfrm>
        <a:off x="1871609" y="13611"/>
        <a:ext cx="6833550" cy="272221"/>
      </dsp:txXfrm>
    </dsp:sp>
    <dsp:sp modelId="{922B819E-71BD-4C55-9980-00F3FA7D9F32}">
      <dsp:nvSpPr>
        <dsp:cNvPr id="0" name=""/>
        <dsp:cNvSpPr/>
      </dsp:nvSpPr>
      <dsp:spPr>
        <a:xfrm>
          <a:off x="1741032" y="285832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CC830B-B6BF-452D-8995-A978AAE55CF0}">
      <dsp:nvSpPr>
        <dsp:cNvPr id="0" name=""/>
        <dsp:cNvSpPr/>
      </dsp:nvSpPr>
      <dsp:spPr>
        <a:xfrm>
          <a:off x="1871609" y="299443"/>
          <a:ext cx="6833550" cy="4212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Uvesti i provesti sustav obračuna troškova pomoćnih usluga i pružateljima tih usluga nadoknaditi troškove</a:t>
          </a:r>
          <a:endParaRPr lang="hr-HR" sz="1300" kern="1200" dirty="0"/>
        </a:p>
      </dsp:txBody>
      <dsp:txXfrm>
        <a:off x="1871609" y="299443"/>
        <a:ext cx="6833550" cy="421241"/>
      </dsp:txXfrm>
    </dsp:sp>
    <dsp:sp modelId="{AD387840-07AA-4307-A329-653599D1F490}">
      <dsp:nvSpPr>
        <dsp:cNvPr id="0" name=""/>
        <dsp:cNvSpPr/>
      </dsp:nvSpPr>
      <dsp:spPr>
        <a:xfrm>
          <a:off x="1741032" y="720684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2EFB77-657F-4F22-BC85-106F0E333A83}">
      <dsp:nvSpPr>
        <dsp:cNvPr id="0" name=""/>
        <dsp:cNvSpPr/>
      </dsp:nvSpPr>
      <dsp:spPr>
        <a:xfrm>
          <a:off x="1871609" y="734295"/>
          <a:ext cx="6833550" cy="272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Ukinuti  uvedenu mjeru definiranja kvote za VE (kvotu definirati kroz Tarifni sustav)</a:t>
          </a:r>
          <a:endParaRPr lang="hr-HR" sz="1300" kern="1200" dirty="0"/>
        </a:p>
      </dsp:txBody>
      <dsp:txXfrm>
        <a:off x="1871609" y="734295"/>
        <a:ext cx="6833550" cy="272221"/>
      </dsp:txXfrm>
    </dsp:sp>
    <dsp:sp modelId="{A9577503-5E8E-4F9B-8912-4D4CC3E8CF50}">
      <dsp:nvSpPr>
        <dsp:cNvPr id="0" name=""/>
        <dsp:cNvSpPr/>
      </dsp:nvSpPr>
      <dsp:spPr>
        <a:xfrm>
          <a:off x="1741032" y="1006517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35CA9E-7918-49BD-9FF7-0966EA2A3610}">
      <dsp:nvSpPr>
        <dsp:cNvPr id="0" name=""/>
        <dsp:cNvSpPr/>
      </dsp:nvSpPr>
      <dsp:spPr>
        <a:xfrm>
          <a:off x="0" y="1021079"/>
          <a:ext cx="87051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36DAAE-E800-48A4-9E49-EA54B3FB5591}">
      <dsp:nvSpPr>
        <dsp:cNvPr id="0" name=""/>
        <dsp:cNvSpPr/>
      </dsp:nvSpPr>
      <dsp:spPr>
        <a:xfrm>
          <a:off x="0" y="1021079"/>
          <a:ext cx="1741032" cy="10210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 smtClean="0"/>
            <a:t>HEP d.d.</a:t>
          </a:r>
          <a:endParaRPr lang="hr-HR" sz="2000" b="1" kern="1200" dirty="0"/>
        </a:p>
      </dsp:txBody>
      <dsp:txXfrm>
        <a:off x="0" y="1021079"/>
        <a:ext cx="1741032" cy="1021079"/>
      </dsp:txXfrm>
    </dsp:sp>
    <dsp:sp modelId="{00A1AA18-74EE-4B2D-BC1D-93742616C6B9}">
      <dsp:nvSpPr>
        <dsp:cNvPr id="0" name=""/>
        <dsp:cNvSpPr/>
      </dsp:nvSpPr>
      <dsp:spPr>
        <a:xfrm>
          <a:off x="1871609" y="1072134"/>
          <a:ext cx="6833550" cy="8846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Značajno povećati raspon (opseg) rezerve snage za regulaciju uvođenjem novih objekata u sustav regulacije (HE </a:t>
          </a:r>
          <a:r>
            <a:rPr lang="hr-HR" sz="1300" kern="1200" dirty="0" err="1" smtClean="0"/>
            <a:t>Orlovac</a:t>
          </a:r>
          <a:r>
            <a:rPr lang="hr-HR" sz="1300" kern="1200" dirty="0" smtClean="0"/>
            <a:t>, HE Dubrovnik 1 i RHE Velebit, kao i pojedine TE, odnosno KTE)koji bi za tu uslugu dobili odgovarajuću naknadu </a:t>
          </a:r>
          <a:endParaRPr lang="hr-HR" sz="1300" kern="1200" dirty="0"/>
        </a:p>
      </dsp:txBody>
      <dsp:txXfrm>
        <a:off x="1871609" y="1072134"/>
        <a:ext cx="6833550" cy="884612"/>
      </dsp:txXfrm>
    </dsp:sp>
    <dsp:sp modelId="{980612CD-E12C-49DE-A7C8-5F646DE06F1B}">
      <dsp:nvSpPr>
        <dsp:cNvPr id="0" name=""/>
        <dsp:cNvSpPr/>
      </dsp:nvSpPr>
      <dsp:spPr>
        <a:xfrm>
          <a:off x="1741032" y="1956746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2F30125-86A4-48F9-B9EE-C182689C6708}">
      <dsp:nvSpPr>
        <dsp:cNvPr id="0" name=""/>
        <dsp:cNvSpPr/>
      </dsp:nvSpPr>
      <dsp:spPr>
        <a:xfrm>
          <a:off x="0" y="0"/>
          <a:ext cx="87051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4D1C1A-1527-4A0D-8B3A-92753E5A62C1}">
      <dsp:nvSpPr>
        <dsp:cNvPr id="0" name=""/>
        <dsp:cNvSpPr/>
      </dsp:nvSpPr>
      <dsp:spPr>
        <a:xfrm>
          <a:off x="0" y="0"/>
          <a:ext cx="1741032" cy="16295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 smtClean="0"/>
            <a:t>HERA</a:t>
          </a:r>
          <a:endParaRPr lang="hr-HR" sz="2000" b="1" kern="1200" dirty="0"/>
        </a:p>
      </dsp:txBody>
      <dsp:txXfrm>
        <a:off x="0" y="0"/>
        <a:ext cx="1741032" cy="1629591"/>
      </dsp:txXfrm>
    </dsp:sp>
    <dsp:sp modelId="{8C63EBE2-F487-4EB9-9119-AD19CE0B0BF2}">
      <dsp:nvSpPr>
        <dsp:cNvPr id="0" name=""/>
        <dsp:cNvSpPr/>
      </dsp:nvSpPr>
      <dsp:spPr>
        <a:xfrm>
          <a:off x="1871609" y="25462"/>
          <a:ext cx="6833550" cy="5092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Odobriti metodologiju/ pravilnika za nabavu i pružanje pomoćnih usluga</a:t>
          </a:r>
          <a:endParaRPr lang="hr-HR" sz="1300" kern="1200" dirty="0"/>
        </a:p>
      </dsp:txBody>
      <dsp:txXfrm>
        <a:off x="1871609" y="25462"/>
        <a:ext cx="6833550" cy="509247"/>
      </dsp:txXfrm>
    </dsp:sp>
    <dsp:sp modelId="{6C724915-17BC-4534-B9E5-24E0BA5BDBA4}">
      <dsp:nvSpPr>
        <dsp:cNvPr id="0" name=""/>
        <dsp:cNvSpPr/>
      </dsp:nvSpPr>
      <dsp:spPr>
        <a:xfrm>
          <a:off x="1741032" y="534709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9AE9F-42C6-4215-85B8-532EEC37701A}">
      <dsp:nvSpPr>
        <dsp:cNvPr id="0" name=""/>
        <dsp:cNvSpPr/>
      </dsp:nvSpPr>
      <dsp:spPr>
        <a:xfrm>
          <a:off x="1871609" y="560171"/>
          <a:ext cx="6833550" cy="5092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Osigurati </a:t>
          </a:r>
          <a:r>
            <a:rPr lang="hr-HR" sz="1300" kern="1200" dirty="0" err="1" smtClean="0"/>
            <a:t>HOPSu</a:t>
          </a:r>
          <a:r>
            <a:rPr lang="hr-HR" sz="1300" kern="1200" dirty="0" smtClean="0"/>
            <a:t> dovoljna sredstava za nabavu pomoćnih usluga,</a:t>
          </a:r>
          <a:endParaRPr lang="hr-HR" sz="1300" kern="1200" dirty="0"/>
        </a:p>
      </dsp:txBody>
      <dsp:txXfrm>
        <a:off x="1871609" y="560171"/>
        <a:ext cx="6833550" cy="509247"/>
      </dsp:txXfrm>
    </dsp:sp>
    <dsp:sp modelId="{367186C9-81D4-42B5-8025-E1AB0EB995AA}">
      <dsp:nvSpPr>
        <dsp:cNvPr id="0" name=""/>
        <dsp:cNvSpPr/>
      </dsp:nvSpPr>
      <dsp:spPr>
        <a:xfrm>
          <a:off x="1741032" y="1069419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1FE66B-A305-4008-B5BC-F87CA884B95D}">
      <dsp:nvSpPr>
        <dsp:cNvPr id="0" name=""/>
        <dsp:cNvSpPr/>
      </dsp:nvSpPr>
      <dsp:spPr>
        <a:xfrm>
          <a:off x="1871609" y="1094881"/>
          <a:ext cx="6833550" cy="5092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Izvršiti nadzor nad provedbom Tarifnog sustava sukladno zakonskoj obvezi</a:t>
          </a:r>
          <a:endParaRPr lang="hr-HR" sz="1300" kern="1200" dirty="0"/>
        </a:p>
      </dsp:txBody>
      <dsp:txXfrm>
        <a:off x="1871609" y="1094881"/>
        <a:ext cx="6833550" cy="509247"/>
      </dsp:txXfrm>
    </dsp:sp>
    <dsp:sp modelId="{F30993BD-3AF2-4106-82F9-C2C229A063BE}">
      <dsp:nvSpPr>
        <dsp:cNvPr id="0" name=""/>
        <dsp:cNvSpPr/>
      </dsp:nvSpPr>
      <dsp:spPr>
        <a:xfrm>
          <a:off x="1741032" y="1604128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A96393-DECA-4207-95F3-F07D18745FAE}">
      <dsp:nvSpPr>
        <dsp:cNvPr id="0" name=""/>
        <dsp:cNvSpPr/>
      </dsp:nvSpPr>
      <dsp:spPr>
        <a:xfrm>
          <a:off x="0" y="1629591"/>
          <a:ext cx="870516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3D9D26-08CE-4074-B0A7-ABE39E6911CF}">
      <dsp:nvSpPr>
        <dsp:cNvPr id="0" name=""/>
        <dsp:cNvSpPr/>
      </dsp:nvSpPr>
      <dsp:spPr>
        <a:xfrm>
          <a:off x="0" y="1629591"/>
          <a:ext cx="1741032" cy="16295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2000" b="1" kern="1200" dirty="0" smtClean="0"/>
            <a:t>HROTE </a:t>
          </a:r>
          <a:endParaRPr lang="hr-HR" sz="2000" b="1" kern="1200" dirty="0"/>
        </a:p>
      </dsp:txBody>
      <dsp:txXfrm>
        <a:off x="0" y="1629591"/>
        <a:ext cx="1741032" cy="1629591"/>
      </dsp:txXfrm>
    </dsp:sp>
    <dsp:sp modelId="{BCCCA79D-5B47-4686-ADD6-17646F87D24B}">
      <dsp:nvSpPr>
        <dsp:cNvPr id="0" name=""/>
        <dsp:cNvSpPr/>
      </dsp:nvSpPr>
      <dsp:spPr>
        <a:xfrm>
          <a:off x="1871609" y="1667466"/>
          <a:ext cx="6833550" cy="7575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razmotriti formiranje bilančne grupe svih OIE koji dostavljaju zajednički raspored proizvodnje u cilju bolje organizacije tržišnog plana te odgovarajuće doraditi Tržišna pravila.</a:t>
          </a:r>
          <a:endParaRPr lang="hr-HR" sz="1300" kern="1200" dirty="0"/>
        </a:p>
      </dsp:txBody>
      <dsp:txXfrm>
        <a:off x="1871609" y="1667466"/>
        <a:ext cx="6833550" cy="757505"/>
      </dsp:txXfrm>
    </dsp:sp>
    <dsp:sp modelId="{763D62FD-F00F-4742-BBE4-8C1D37D55355}">
      <dsp:nvSpPr>
        <dsp:cNvPr id="0" name=""/>
        <dsp:cNvSpPr/>
      </dsp:nvSpPr>
      <dsp:spPr>
        <a:xfrm>
          <a:off x="1741032" y="2424971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F50356-2C91-48BE-B5EF-A3978E17E009}">
      <dsp:nvSpPr>
        <dsp:cNvPr id="0" name=""/>
        <dsp:cNvSpPr/>
      </dsp:nvSpPr>
      <dsp:spPr>
        <a:xfrm>
          <a:off x="1871609" y="2462846"/>
          <a:ext cx="6833550" cy="7575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300" kern="1200" dirty="0" smtClean="0"/>
            <a:t>Uvesti burzu električne energije sa ravnopravnim sudjelovanjem proizvođača el. energije iz OIE u trgovini i tržištu el. energijom . Uvesti unutar dnevno uravnoteženje-predviđanje proizvodnje iz OIE.</a:t>
          </a:r>
          <a:endParaRPr lang="hr-HR" sz="1300" kern="1200" dirty="0"/>
        </a:p>
      </dsp:txBody>
      <dsp:txXfrm>
        <a:off x="1871609" y="2462846"/>
        <a:ext cx="6833550" cy="757505"/>
      </dsp:txXfrm>
    </dsp:sp>
    <dsp:sp modelId="{E3B6D7F0-20DC-4DEC-8A33-9129E7C9DE55}">
      <dsp:nvSpPr>
        <dsp:cNvPr id="0" name=""/>
        <dsp:cNvSpPr/>
      </dsp:nvSpPr>
      <dsp:spPr>
        <a:xfrm>
          <a:off x="1741032" y="3220351"/>
          <a:ext cx="69641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x-none" alt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23AFE2F-E17A-40B4-8231-C8818B8F27D0}" type="datetimeFigureOut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x-none" alt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08F2AD8-764C-45FD-8A9F-122BC8768B53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5358833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7200" y="1625837"/>
            <a:ext cx="8229600" cy="519815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ta-IN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457200" y="2145652"/>
            <a:ext cx="8229600" cy="4525963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2400"/>
            </a:lvl1pPr>
          </a:lstStyle>
          <a:p>
            <a:pPr lvl="0"/>
            <a:r>
              <a:rPr lang="ta-IN" noProof="0" dirty="0" smtClean="0"/>
              <a:t>Click to edit Master text styles</a:t>
            </a:r>
          </a:p>
          <a:p>
            <a:pPr lvl="1"/>
            <a:r>
              <a:rPr lang="ta-IN" noProof="0" dirty="0" smtClean="0"/>
              <a:t>• Second level</a:t>
            </a:r>
          </a:p>
          <a:p>
            <a:pPr lvl="2"/>
            <a:r>
              <a:rPr lang="ta-IN" noProof="0" dirty="0" smtClean="0"/>
              <a:t>Third level</a:t>
            </a:r>
          </a:p>
          <a:p>
            <a:pPr lvl="3"/>
            <a:r>
              <a:rPr lang="ta-IN" noProof="0" dirty="0" smtClean="0"/>
              <a:t>• Fourth level</a:t>
            </a:r>
          </a:p>
          <a:p>
            <a:pPr lvl="4"/>
            <a:r>
              <a:rPr lang="ta-IN" noProof="0" dirty="0" smtClean="0"/>
              <a:t>• Fifth level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172029028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2268" y="4282307"/>
            <a:ext cx="5859463" cy="5207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ta-IN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5940905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2EC8F299-4709-4EF2-A425-C0D845036931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682254FE-5139-484F-9B8C-00FF061F2C1F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91072481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7200" y="1782762"/>
            <a:ext cx="8229600" cy="45755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ta-IN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457200" y="2240313"/>
            <a:ext cx="8229600" cy="4525963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ta-IN" noProof="0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488E27B-9052-40D0-919B-BF31F65FD894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DABDE6-B0E7-43B3-8E6D-CC681F861D42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74677955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2433D7D-21C7-4490-85D6-9D5BC276C425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6F5B68-7744-4CA7-A106-F57A752EA248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21012038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3650FA0-457B-442B-A791-5E608D76EF44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783E7E-F780-4F68-8DAB-EED5362AFE23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54303657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ta-IN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0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0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D4DABBF-E85D-46EA-90B0-CD9A7303CA2D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7172A1D-D381-4FF6-ABFD-FEFA5E54EF67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364457969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ta-IN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6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/>
                <a:cs typeface="Arial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6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47E2232-CA59-470E-883B-1F9320075C4A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4778A98-0A31-468B-B02B-AA5DCE1D84EB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420271175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C6FB1F4-A1B9-4CBA-A549-E09044934770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4F6EE0C-01F6-4588-B84B-BDF123EE14F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46592039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83ED931-819B-40AB-B76C-99E964BB5C54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E5591D-2B02-4331-9012-CA9C441ACF59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94479381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latin typeface="Arial"/>
                <a:cs typeface="Arial"/>
              </a:defRPr>
            </a:lvl1pPr>
          </a:lstStyle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>
                <a:latin typeface="Arial"/>
                <a:cs typeface="Arial"/>
              </a:defRPr>
            </a:lvl1pPr>
            <a:lvl2pPr>
              <a:defRPr sz="2800">
                <a:latin typeface="Arial"/>
                <a:cs typeface="Arial"/>
              </a:defRPr>
            </a:lvl2pPr>
            <a:lvl3pPr>
              <a:defRPr sz="2400">
                <a:latin typeface="Arial"/>
                <a:cs typeface="Arial"/>
              </a:defRPr>
            </a:lvl3pPr>
            <a:lvl4pPr>
              <a:defRPr sz="2000">
                <a:latin typeface="Arial"/>
                <a:cs typeface="Arial"/>
              </a:defRPr>
            </a:lvl4pPr>
            <a:lvl5pPr>
              <a:defRPr sz="2000">
                <a:latin typeface="Arial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063751B-B187-440D-BB37-2AFACB25281A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0D9CFD-F64B-4934-9B24-78456FE48DE9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403895849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2268" y="3429000"/>
            <a:ext cx="5859463" cy="5207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ta-IN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5138" y="3825875"/>
            <a:ext cx="4446587" cy="15906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2098A10D-EE1E-434C-9571-9B864DAC5F21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BBD22854-A497-424A-88E1-66973A43AA37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1514522269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latin typeface="Arial"/>
                <a:cs typeface="Arial"/>
              </a:defRPr>
            </a:lvl1pPr>
          </a:lstStyle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latin typeface="Arial"/>
                <a:cs typeface="Arial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AA1CC76-6682-46BB-90D3-36BCA9562F57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81E6F1-7CC4-4542-8D3F-11FDCA14281B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3133733857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ta-IN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3AADE51-56EC-4C6D-8BB8-B911859C8512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F49480-32FB-4308-BE47-0721C0C99E6D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58666916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311B1C-E0FD-4A03-AC0D-58E7252AAACD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C8C2637-CAE1-407F-908E-BCF954069070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381472097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/>
          <a:lstStyle>
            <a:lvl1pPr algn="l">
              <a:defRPr sz="4000" b="1" cap="all">
                <a:latin typeface="Arial"/>
                <a:cs typeface="Arial"/>
              </a:defRPr>
            </a:lvl1pPr>
          </a:lstStyle>
          <a:p>
            <a:r>
              <a:rPr lang="ta-IN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BE7D2B3B-F1CA-4482-9BC9-6967625789DB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CB696709-3B49-45DC-91E9-19875B5782A6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406853157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2268" y="3429000"/>
            <a:ext cx="5859463" cy="520700"/>
          </a:xfrm>
          <a:prstGeom prst="rect">
            <a:avLst/>
          </a:prstGeom>
        </p:spPr>
        <p:txBody>
          <a:bodyPr/>
          <a:lstStyle/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0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a-IN" dirty="0" smtClean="0"/>
              <a:t>Click to edit Master text styles</a:t>
            </a:r>
          </a:p>
          <a:p>
            <a:pPr lvl="1"/>
            <a:r>
              <a:rPr lang="ta-IN" dirty="0" smtClean="0"/>
              <a:t>Second level</a:t>
            </a:r>
          </a:p>
          <a:p>
            <a:pPr lvl="2"/>
            <a:r>
              <a:rPr lang="ta-IN" dirty="0" smtClean="0"/>
              <a:t>Third level</a:t>
            </a:r>
          </a:p>
          <a:p>
            <a:pPr lvl="3"/>
            <a:r>
              <a:rPr lang="ta-IN" dirty="0" smtClean="0"/>
              <a:t>Fourth level</a:t>
            </a:r>
          </a:p>
          <a:p>
            <a:pPr lvl="4"/>
            <a:r>
              <a:rPr lang="ta-IN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20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24496DB1-487B-42BE-948A-B221BB36F002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467FED4E-51C0-44BA-80EF-60B29A278895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416323265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2268" y="3429000"/>
            <a:ext cx="5859463" cy="520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C8ABDE00-5027-4151-8EBC-E8438A3D60BA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368916F5-36F7-46D9-8BD8-AFA084F192C5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59339366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2268" y="3429000"/>
            <a:ext cx="5859463" cy="520700"/>
          </a:xfrm>
          <a:prstGeom prst="rect">
            <a:avLst/>
          </a:prstGeom>
        </p:spPr>
        <p:txBody>
          <a:bodyPr/>
          <a:lstStyle/>
          <a:p>
            <a:r>
              <a:rPr lang="ta-IN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6D786D09-2F16-40B5-AE65-973BB90CF288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143E7346-BDA5-45F9-BD1D-98B1DB22EE86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302828022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819EE449-738A-459A-9CBC-EC482FC3815B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865B861B-5DFB-4D32-8868-C9F63D825457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86043788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a-IN" smtClean="0"/>
              <a:t>Click to edit Master text styles</a:t>
            </a:r>
          </a:p>
          <a:p>
            <a:pPr lvl="1"/>
            <a:r>
              <a:rPr lang="ta-IN" smtClean="0"/>
              <a:t>Second level</a:t>
            </a:r>
          </a:p>
          <a:p>
            <a:pPr lvl="2"/>
            <a:r>
              <a:rPr lang="ta-IN" smtClean="0"/>
              <a:t>Third level</a:t>
            </a:r>
          </a:p>
          <a:p>
            <a:pPr lvl="3"/>
            <a:r>
              <a:rPr lang="ta-IN" smtClean="0"/>
              <a:t>Fourth level</a:t>
            </a:r>
          </a:p>
          <a:p>
            <a:pPr lvl="4"/>
            <a:r>
              <a:rPr lang="ta-IN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E40CE248-AC71-4E30-A1B7-6FFED83677E9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6F24CCD8-9CF3-4BBF-A1E2-9F4258FCFD60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24444997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a-IN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a-I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A012874B-AD0C-4AA0-9AA9-B4A9AE54E9FB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x-none" alt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AC35BCEC-1D4B-4222-9CD8-D8202BA72B95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xmlns="" val="230831725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 descr="Screen shot 2012-08-22 at 11.19.22 AM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77975" y="358775"/>
            <a:ext cx="5770563" cy="3605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95" r:id="rId1"/>
    <p:sldLayoutId id="2147484608" r:id="rId2"/>
    <p:sldLayoutId id="2147484609" r:id="rId3"/>
    <p:sldLayoutId id="2147484610" r:id="rId4"/>
    <p:sldLayoutId id="2147484611" r:id="rId5"/>
    <p:sldLayoutId id="2147484612" r:id="rId6"/>
    <p:sldLayoutId id="2147484613" r:id="rId7"/>
    <p:sldLayoutId id="2147484614" r:id="rId8"/>
    <p:sldLayoutId id="2147484615" r:id="rId9"/>
    <p:sldLayoutId id="2147484596" r:id="rId10"/>
    <p:sldLayoutId id="2147484616" r:id="rId11"/>
  </p:sldLayoutIdLst>
  <p:transition/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800" kern="1200">
          <a:solidFill>
            <a:srgbClr val="0092D2"/>
          </a:solidFill>
          <a:latin typeface="+mj-lt"/>
          <a:ea typeface="ヒラギノ角ゴ Pro W3" charset="-128"/>
          <a:cs typeface="ヒラギノ角ゴ Pro W3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kern="1200">
          <a:solidFill>
            <a:srgbClr val="7F7F7F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kern="1200">
          <a:solidFill>
            <a:srgbClr val="7F7F7F"/>
          </a:solidFill>
          <a:latin typeface="+mn-lt"/>
          <a:ea typeface="ヒラギノ角ゴ Pro W3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7F7F7F"/>
          </a:solidFill>
          <a:latin typeface="+mn-lt"/>
          <a:ea typeface="ヒラギノ角ゴ Pro W3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kern="1200">
          <a:solidFill>
            <a:srgbClr val="7F7F7F"/>
          </a:solidFill>
          <a:latin typeface="+mn-lt"/>
          <a:ea typeface="ヒラギノ角ゴ Pro W3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kern="1200">
          <a:solidFill>
            <a:srgbClr val="7F7F7F"/>
          </a:solidFill>
          <a:latin typeface="+mn-lt"/>
          <a:ea typeface="ヒラギノ角ゴ Pro W3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166813"/>
            <a:ext cx="8229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a-IN" altLang="x-none" smtClean="0"/>
              <a:t>Click to edit Master title style</a:t>
            </a:r>
            <a:endParaRPr lang="en-US" altLang="x-none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24013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a-IN" alt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85AFBD39-FC42-46C6-A889-9ADA6F2C92D4}" type="datetime1">
              <a:rPr lang="en-US" altLang="x-none"/>
              <a:pPr/>
              <a:t>6/18/2014</a:t>
            </a:fld>
            <a:endParaRPr lang="en-US" altLang="x-non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</a:defRPr>
            </a:lvl1pPr>
          </a:lstStyle>
          <a:p>
            <a:endParaRPr lang="x-none" altLang="x-non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50237E6C-8B93-49A6-BA04-D7F6780CBF4F}" type="slidenum">
              <a:rPr lang="en-US" altLang="x-none"/>
              <a:pPr/>
              <a:t>‹#›</a:t>
            </a:fld>
            <a:endParaRPr lang="en-US" altLang="x-none"/>
          </a:p>
        </p:txBody>
      </p:sp>
      <p:pic>
        <p:nvPicPr>
          <p:cNvPr id="2055" name="Picture 7" descr="Screen shot 2012-08-22 at 11.19.46 AM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0" y="252413"/>
            <a:ext cx="2751138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97" r:id="rId1"/>
    <p:sldLayoutId id="2147484598" r:id="rId2"/>
    <p:sldLayoutId id="2147484599" r:id="rId3"/>
    <p:sldLayoutId id="2147484600" r:id="rId4"/>
    <p:sldLayoutId id="2147484601" r:id="rId5"/>
    <p:sldLayoutId id="2147484602" r:id="rId6"/>
    <p:sldLayoutId id="2147484603" r:id="rId7"/>
    <p:sldLayoutId id="2147484604" r:id="rId8"/>
    <p:sldLayoutId id="2147484605" r:id="rId9"/>
    <p:sldLayoutId id="2147484606" r:id="rId10"/>
    <p:sldLayoutId id="2147484607" r:id="rId11"/>
  </p:sldLayoutIdLst>
  <p:transition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0092D2"/>
          </a:solidFill>
          <a:latin typeface="+mj-lt"/>
          <a:ea typeface="ヒラギノ角ゴ Pro W3" charset="-128"/>
          <a:cs typeface="ヒラギノ角ゴ Pro W3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rgbClr val="0092D2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kern="1200">
          <a:solidFill>
            <a:srgbClr val="7F7F7F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ヒラギノ角ゴ Pro W3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kern="1200">
          <a:solidFill>
            <a:schemeClr val="tx1"/>
          </a:solidFill>
          <a:latin typeface="+mn-lt"/>
          <a:ea typeface="ヒラギノ角ゴ Pro W3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ヒラギノ角ゴ Pro W3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ヒラギノ角ゴ Pro W3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4"/>
          <p:cNvSpPr>
            <a:spLocks noGrp="1"/>
          </p:cNvSpPr>
          <p:nvPr>
            <p:ph type="title"/>
          </p:nvPr>
        </p:nvSpPr>
        <p:spPr bwMode="auto">
          <a:xfrm>
            <a:off x="40640" y="4859024"/>
            <a:ext cx="5313680" cy="185642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hr-HR" sz="2000" dirty="0" smtClean="0"/>
              <a:t>     </a:t>
            </a:r>
            <a:r>
              <a:rPr lang="hr-HR" sz="2400" b="1" dirty="0" smtClean="0"/>
              <a:t>Budućnost obnovljivih izvora energije i izmjene u tarifnom sustavu</a:t>
            </a:r>
            <a:r>
              <a:rPr lang="hr-HR" sz="3600" b="1" dirty="0" smtClean="0"/>
              <a:t/>
            </a:r>
            <a:br>
              <a:rPr lang="hr-HR" sz="3600" b="1" dirty="0" smtClean="0"/>
            </a:br>
            <a:r>
              <a:rPr lang="hr-HR" sz="1400" dirty="0" smtClean="0"/>
              <a:t/>
            </a:r>
            <a:br>
              <a:rPr lang="hr-HR" sz="1400" dirty="0" smtClean="0"/>
            </a:br>
            <a:r>
              <a:rPr lang="hr-HR" sz="1400" dirty="0" smtClean="0"/>
              <a:t>													</a:t>
            </a:r>
            <a:br>
              <a:rPr lang="hr-HR" sz="1400" dirty="0" smtClean="0"/>
            </a:br>
            <a:r>
              <a:rPr lang="hr-HR" sz="1400" dirty="0"/>
              <a:t>	</a:t>
            </a:r>
            <a:r>
              <a:rPr lang="hr-HR" sz="1400" dirty="0" smtClean="0"/>
              <a:t>												</a:t>
            </a:r>
            <a:r>
              <a:rPr lang="hr-HR" sz="2400" dirty="0"/>
              <a:t/>
            </a:r>
            <a:br>
              <a:rPr lang="hr-HR" sz="2400" dirty="0"/>
            </a:br>
            <a:endParaRPr lang="en-US" altLang="x-none" sz="2400" dirty="0" smtClean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ekstniOkvir 1"/>
          <p:cNvSpPr txBox="1"/>
          <p:nvPr/>
        </p:nvSpPr>
        <p:spPr>
          <a:xfrm>
            <a:off x="213360" y="3974850"/>
            <a:ext cx="9154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2400" b="1" dirty="0"/>
              <a:t>KAKO SE UKLJUČITI U ENERGETSKI RAZVOJ HRVATSKE</a:t>
            </a:r>
            <a:endParaRPr lang="hr-HR" sz="2400" dirty="0"/>
          </a:p>
        </p:txBody>
      </p:sp>
      <p:sp>
        <p:nvSpPr>
          <p:cNvPr id="3" name="Pravokutnik 2"/>
          <p:cNvSpPr/>
          <p:nvPr/>
        </p:nvSpPr>
        <p:spPr>
          <a:xfrm>
            <a:off x="284480" y="4767898"/>
            <a:ext cx="5069840" cy="1358582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4" name="TekstniOkvir 3"/>
          <p:cNvSpPr txBox="1"/>
          <p:nvPr/>
        </p:nvSpPr>
        <p:spPr>
          <a:xfrm>
            <a:off x="6664960" y="6113523"/>
            <a:ext cx="3098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/>
              <a:t>Zagreb, lipanj 2014.godine</a:t>
            </a:r>
            <a:r>
              <a:rPr lang="hr-HR" sz="2800" dirty="0"/>
              <a:t/>
            </a:r>
            <a:br>
              <a:rPr lang="hr-HR" sz="2800" dirty="0"/>
            </a:br>
            <a:endParaRPr lang="hr-HR" dirty="0"/>
          </a:p>
        </p:txBody>
      </p:sp>
    </p:spTree>
  </p:cSld>
  <p:clrMapOvr>
    <a:masterClrMapping/>
  </p:clrMapOvr>
  <p:transition spd="slow">
    <p:blinds dir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676328" y="330379"/>
            <a:ext cx="8229600" cy="562074"/>
          </a:xfrm>
        </p:spPr>
        <p:txBody>
          <a:bodyPr>
            <a:noAutofit/>
          </a:bodyPr>
          <a:lstStyle/>
          <a:p>
            <a:r>
              <a:rPr lang="hr-HR" sz="2000" dirty="0">
                <a:effectLst/>
              </a:rPr>
              <a:t>3. ZAKLJUČCI I </a:t>
            </a:r>
            <a:r>
              <a:rPr lang="hr-HR" sz="2000" dirty="0" smtClean="0">
                <a:effectLst/>
              </a:rPr>
              <a:t>PREPORUKE - </a:t>
            </a:r>
            <a:r>
              <a:rPr lang="hr-HR" sz="2000" dirty="0" err="1"/>
              <a:t>Mikrosolar</a:t>
            </a:r>
            <a:endParaRPr lang="hr-HR" sz="2000" dirty="0">
              <a:effectLst/>
            </a:endParaRPr>
          </a:p>
        </p:txBody>
      </p:sp>
      <p:sp>
        <p:nvSpPr>
          <p:cNvPr id="6" name="TekstniOkvir 5"/>
          <p:cNvSpPr txBox="1"/>
          <p:nvPr/>
        </p:nvSpPr>
        <p:spPr>
          <a:xfrm>
            <a:off x="0" y="1264345"/>
            <a:ext cx="892899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600" b="1" u="sng" dirty="0" smtClean="0">
                <a:latin typeface="+mn-lt"/>
              </a:rPr>
              <a:t>Do kraja 2015. izgradnja 100MW </a:t>
            </a:r>
            <a:r>
              <a:rPr lang="hr-HR" sz="1600" b="1" u="sng" dirty="0" err="1" smtClean="0">
                <a:latin typeface="+mn-lt"/>
              </a:rPr>
              <a:t>mikrosolara</a:t>
            </a:r>
            <a:r>
              <a:rPr lang="hr-HR" sz="1600" b="1" u="sng" dirty="0" smtClean="0">
                <a:latin typeface="+mn-lt"/>
              </a:rPr>
              <a:t> do 5KW, a do 2020. god. - dodatno 400 M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sz="1600" b="1" dirty="0" smtClean="0">
              <a:latin typeface="+mn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r-HR" sz="1600" dirty="0" smtClean="0">
                <a:latin typeface="+mn-lt"/>
              </a:rPr>
              <a:t>Cilj je pokrenuti zapošljavanje malih poduzetnika-obrtnika kroz sustav poticaja instalacija sunčanih elektrana do najviše 5KW, a koje omogućavaju vlastitu potrošnju iz OIE na mjestu proizvodnje kako je definirano u Tarifnom sustavu. Novih </a:t>
            </a:r>
            <a:r>
              <a:rPr lang="hr-HR" sz="1600" dirty="0">
                <a:latin typeface="+mn-lt"/>
              </a:rPr>
              <a:t>projekata </a:t>
            </a:r>
            <a:r>
              <a:rPr lang="hr-HR" sz="1600" dirty="0" err="1">
                <a:latin typeface="+mn-lt"/>
              </a:rPr>
              <a:t>mikrosolara</a:t>
            </a:r>
            <a:r>
              <a:rPr lang="hr-HR" sz="1600" dirty="0">
                <a:latin typeface="+mn-lt"/>
              </a:rPr>
              <a:t> u iznosu od 1 </a:t>
            </a:r>
            <a:r>
              <a:rPr lang="hr-HR" sz="1600" dirty="0" err="1">
                <a:latin typeface="+mn-lt"/>
              </a:rPr>
              <a:t>mlrd</a:t>
            </a:r>
            <a:r>
              <a:rPr lang="hr-HR" sz="1600" dirty="0">
                <a:latin typeface="+mn-lt"/>
              </a:rPr>
              <a:t> kn</a:t>
            </a:r>
            <a:r>
              <a:rPr lang="hr-HR" sz="1600" dirty="0" smtClean="0">
                <a:latin typeface="+mn-lt"/>
              </a:rPr>
              <a:t>, i preko 2000 radnih mjesta </a:t>
            </a:r>
            <a:r>
              <a:rPr lang="hr-HR" sz="1600" dirty="0">
                <a:latin typeface="+mn-lt"/>
              </a:rPr>
              <a:t>do kraja 2015</a:t>
            </a:r>
            <a:r>
              <a:rPr lang="hr-HR" sz="1600" dirty="0" smtClean="0">
                <a:latin typeface="+mn-lt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r-HR" sz="1600" dirty="0" smtClean="0">
                <a:latin typeface="+mn-lt"/>
              </a:rPr>
              <a:t>Neiskorištena </a:t>
            </a:r>
            <a:r>
              <a:rPr lang="hr-HR" sz="1600" dirty="0">
                <a:latin typeface="+mn-lt"/>
              </a:rPr>
              <a:t>sredstava, koja su već prikupljena i koja se prikupljaju kroz naknadu za OIE (3,5 lp/kWh) trenutno se </a:t>
            </a:r>
            <a:r>
              <a:rPr lang="hr-HR" sz="1600" dirty="0" smtClean="0">
                <a:latin typeface="+mn-lt"/>
              </a:rPr>
              <a:t>procjenjuju za 2014. </a:t>
            </a:r>
            <a:r>
              <a:rPr lang="hr-HR" sz="1600" dirty="0">
                <a:latin typeface="+mn-lt"/>
              </a:rPr>
              <a:t>na iznos od 250.000.000,00 </a:t>
            </a:r>
            <a:r>
              <a:rPr lang="hr-HR" sz="1600" dirty="0" smtClean="0">
                <a:latin typeface="+mn-lt"/>
              </a:rPr>
              <a:t>kn. </a:t>
            </a:r>
            <a:r>
              <a:rPr lang="hr-HR" sz="1600" dirty="0">
                <a:latin typeface="+mn-lt"/>
              </a:rPr>
              <a:t>Predlaže se </a:t>
            </a:r>
            <a:r>
              <a:rPr lang="hr-HR" sz="1600" dirty="0" smtClean="0">
                <a:latin typeface="+mn-lt"/>
              </a:rPr>
              <a:t>dodjeljivanje </a:t>
            </a:r>
            <a:r>
              <a:rPr lang="hr-HR" sz="1600" dirty="0">
                <a:latin typeface="+mn-lt"/>
              </a:rPr>
              <a:t>istih kao jednokratna i nepovratna sredstva (subvencija) za izgradnju </a:t>
            </a:r>
            <a:r>
              <a:rPr lang="hr-HR" sz="1600" dirty="0" err="1">
                <a:latin typeface="+mn-lt"/>
              </a:rPr>
              <a:t>mikrosolara</a:t>
            </a:r>
            <a:r>
              <a:rPr lang="hr-HR" sz="1600" dirty="0">
                <a:latin typeface="+mn-lt"/>
              </a:rPr>
              <a:t>. </a:t>
            </a:r>
            <a:endParaRPr lang="hr-HR" sz="1600" dirty="0" smtClean="0">
              <a:latin typeface="+mn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r-HR" sz="1600" dirty="0">
                <a:latin typeface="+mn-lt"/>
              </a:rPr>
              <a:t>Prijedlog ne traži dodatne izmjene zakonskog i </a:t>
            </a:r>
            <a:r>
              <a:rPr lang="hr-HR" sz="1600" dirty="0" err="1">
                <a:latin typeface="+mn-lt"/>
              </a:rPr>
              <a:t>podzakonskog</a:t>
            </a:r>
            <a:r>
              <a:rPr lang="hr-HR" sz="1600" dirty="0">
                <a:latin typeface="+mn-lt"/>
              </a:rPr>
              <a:t> okvira nego izmjenu Tarifnog sustava ne </a:t>
            </a:r>
            <a:r>
              <a:rPr lang="hr-HR" sz="1600" dirty="0" smtClean="0">
                <a:latin typeface="+mn-lt"/>
              </a:rPr>
              <a:t>uvođenjem  jednokratnog poticaja </a:t>
            </a:r>
            <a:r>
              <a:rPr lang="hr-HR" sz="1600" dirty="0">
                <a:latin typeface="+mn-lt"/>
              </a:rPr>
              <a:t>za instalaciju sunčane </a:t>
            </a:r>
            <a:r>
              <a:rPr lang="hr-HR" sz="1600" dirty="0" smtClean="0">
                <a:latin typeface="+mn-lt"/>
              </a:rPr>
              <a:t>elektrane do 5KW (</a:t>
            </a:r>
            <a:r>
              <a:rPr lang="hr-HR" sz="1600" dirty="0" err="1" smtClean="0">
                <a:latin typeface="+mn-lt"/>
              </a:rPr>
              <a:t>npr</a:t>
            </a:r>
            <a:r>
              <a:rPr lang="hr-HR" sz="1600" dirty="0" smtClean="0">
                <a:latin typeface="+mn-lt"/>
              </a:rPr>
              <a:t>. Austrija,Švicarska…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sz="1600" b="1" i="1" dirty="0" smtClean="0">
              <a:latin typeface="+mn-lt"/>
            </a:endParaRPr>
          </a:p>
          <a:p>
            <a:r>
              <a:rPr lang="hr-HR" sz="1200" b="1" i="1" dirty="0" smtClean="0">
                <a:latin typeface="+mn-lt"/>
              </a:rPr>
              <a:t>			Tablica </a:t>
            </a:r>
            <a:r>
              <a:rPr lang="hr-HR" sz="1200" b="1" i="1" dirty="0">
                <a:latin typeface="+mn-lt"/>
              </a:rPr>
              <a:t>1. – ukupno ugovoreni projekti u 2013. i potencijal </a:t>
            </a:r>
            <a:r>
              <a:rPr lang="hr-HR" sz="1200" b="1" i="1" dirty="0" err="1">
                <a:latin typeface="+mn-lt"/>
              </a:rPr>
              <a:t>Mikrosolara</a:t>
            </a:r>
            <a:endParaRPr lang="hr-HR" sz="1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sz="1600" dirty="0"/>
          </a:p>
          <a:p>
            <a:endParaRPr lang="hr-HR" sz="160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2882" y="4437380"/>
            <a:ext cx="6535737" cy="260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9946924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676328" y="330379"/>
            <a:ext cx="5252664" cy="562074"/>
          </a:xfrm>
        </p:spPr>
        <p:txBody>
          <a:bodyPr>
            <a:noAutofit/>
          </a:bodyPr>
          <a:lstStyle/>
          <a:p>
            <a:r>
              <a:rPr lang="hr-HR" sz="2000" dirty="0">
                <a:effectLst/>
              </a:rPr>
              <a:t>3. ZAKLJUČCI I </a:t>
            </a:r>
            <a:r>
              <a:rPr lang="hr-HR" sz="2000" dirty="0"/>
              <a:t>PREPORUKE - </a:t>
            </a:r>
            <a:r>
              <a:rPr lang="hr-HR" sz="2000" dirty="0" err="1"/>
              <a:t>Mikrosolar</a:t>
            </a:r>
            <a:endParaRPr lang="hr-HR" sz="2000" dirty="0">
              <a:effectLst/>
            </a:endParaRPr>
          </a:p>
        </p:txBody>
      </p:sp>
      <p:sp>
        <p:nvSpPr>
          <p:cNvPr id="6" name="TekstniOkvir 5"/>
          <p:cNvSpPr txBox="1"/>
          <p:nvPr/>
        </p:nvSpPr>
        <p:spPr>
          <a:xfrm>
            <a:off x="0" y="1376105"/>
            <a:ext cx="89289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hr-HR" sz="1600" dirty="0" smtClean="0"/>
              <a:t> </a:t>
            </a:r>
            <a:r>
              <a:rPr lang="hr-HR" sz="1600" dirty="0"/>
              <a:t>Iz javno dostupnih podataka o realiziranim projektima te projektima koji zadovoljavaju kriterije za dobivanje ugovora o otkupu EE od HROTE-a napraviti „presjek“ trenutnog stanja sektora OIE</a:t>
            </a:r>
          </a:p>
        </p:txBody>
      </p:sp>
      <p:graphicFrame>
        <p:nvGraphicFramePr>
          <p:cNvPr id="10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07776858"/>
              </p:ext>
            </p:extLst>
          </p:nvPr>
        </p:nvGraphicFramePr>
        <p:xfrm>
          <a:off x="232667" y="1960880"/>
          <a:ext cx="8696325" cy="3891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kstniOkvir 10"/>
          <p:cNvSpPr txBox="1"/>
          <p:nvPr/>
        </p:nvSpPr>
        <p:spPr>
          <a:xfrm>
            <a:off x="152400" y="5852160"/>
            <a:ext cx="892899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r-HR" sz="1050" i="1" dirty="0"/>
              <a:t>Rast proizvodnje i potrošnje EE iz </a:t>
            </a:r>
            <a:r>
              <a:rPr lang="hr-HR" sz="1050" i="1" dirty="0" smtClean="0"/>
              <a:t>OIE</a:t>
            </a:r>
            <a:endParaRPr lang="hr-HR" sz="1050" dirty="0"/>
          </a:p>
          <a:p>
            <a:pPr algn="r"/>
            <a:r>
              <a:rPr lang="hr-HR" sz="1050" i="1" dirty="0"/>
              <a:t>* Prikupljena sredstva na osnovu naknade za poticanje EE iz </a:t>
            </a:r>
            <a:r>
              <a:rPr lang="hr-HR" sz="1050" i="1" dirty="0" smtClean="0"/>
              <a:t>OIE </a:t>
            </a:r>
            <a:r>
              <a:rPr lang="hr-HR" sz="1050" i="1" dirty="0"/>
              <a:t>u KN</a:t>
            </a:r>
            <a:endParaRPr lang="hr-HR" sz="1050" dirty="0"/>
          </a:p>
          <a:p>
            <a:pPr algn="r"/>
            <a:r>
              <a:rPr lang="hr-HR" sz="1050" i="1" dirty="0"/>
              <a:t>**Prikupljena sredstva s osnova prodaje EE po PPC</a:t>
            </a:r>
            <a:endParaRPr lang="hr-HR" sz="1050" dirty="0"/>
          </a:p>
        </p:txBody>
      </p:sp>
    </p:spTree>
    <p:extLst>
      <p:ext uri="{BB962C8B-B14F-4D97-AF65-F5344CB8AC3E}">
        <p14:creationId xmlns:p14="http://schemas.microsoft.com/office/powerpoint/2010/main" xmlns="" val="13672066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676328" y="330379"/>
            <a:ext cx="8229600" cy="562074"/>
          </a:xfrm>
        </p:spPr>
        <p:txBody>
          <a:bodyPr>
            <a:noAutofit/>
          </a:bodyPr>
          <a:lstStyle/>
          <a:p>
            <a:r>
              <a:rPr lang="hr-HR" sz="2000" dirty="0">
                <a:effectLst/>
              </a:rPr>
              <a:t>3. ZAKLJUČCI I </a:t>
            </a:r>
            <a:r>
              <a:rPr lang="hr-HR" sz="2000" dirty="0" smtClean="0">
                <a:effectLst/>
              </a:rPr>
              <a:t>PREPORUKE </a:t>
            </a:r>
            <a:r>
              <a:rPr lang="hr-HR" sz="2000" dirty="0"/>
              <a:t>- </a:t>
            </a:r>
            <a:r>
              <a:rPr lang="hr-HR" sz="2000" dirty="0" err="1"/>
              <a:t>Mikrosolar</a:t>
            </a:r>
            <a:endParaRPr lang="hr-HR" sz="2000" dirty="0">
              <a:effectLst/>
            </a:endParaRPr>
          </a:p>
        </p:txBody>
      </p:sp>
      <p:sp>
        <p:nvSpPr>
          <p:cNvPr id="6" name="TekstniOkvir 5"/>
          <p:cNvSpPr txBox="1"/>
          <p:nvPr/>
        </p:nvSpPr>
        <p:spPr>
          <a:xfrm>
            <a:off x="0" y="1376105"/>
            <a:ext cx="89289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hr-HR" sz="1600" dirty="0"/>
              <a:t>Neiskorištene kvote po TS-u za 2013. godinu, za koje su bila planirana financijska sredstva u sustavu HROTE-a će se „preraspodijeliti“ za potencijalne nove projekte koji se mogu žurno realizirati </a:t>
            </a:r>
          </a:p>
        </p:txBody>
      </p:sp>
      <p:sp>
        <p:nvSpPr>
          <p:cNvPr id="11" name="TekstniOkvir 10"/>
          <p:cNvSpPr txBox="1"/>
          <p:nvPr/>
        </p:nvSpPr>
        <p:spPr>
          <a:xfrm>
            <a:off x="215008" y="6087923"/>
            <a:ext cx="8928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r-HR" sz="1050" i="1" dirty="0"/>
              <a:t>Poticanje proizvođača snažno utječe na rast akumuliranih sredstava u HROTE</a:t>
            </a:r>
            <a:endParaRPr lang="hr-HR" sz="1050" dirty="0"/>
          </a:p>
          <a:p>
            <a:pPr algn="r"/>
            <a:r>
              <a:rPr lang="hr-HR" sz="1050" i="1" dirty="0"/>
              <a:t>HROTE će na kraju 2014. godine raspolagati sa 340.000.000,00 kn neisplaćenih sredstava za OIE</a:t>
            </a:r>
            <a:endParaRPr lang="hr-HR" sz="105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1600" y="2207102"/>
            <a:ext cx="8979044" cy="3746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9324782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098800" y="264796"/>
            <a:ext cx="8229600" cy="562074"/>
          </a:xfrm>
        </p:spPr>
        <p:txBody>
          <a:bodyPr>
            <a:noAutofit/>
          </a:bodyPr>
          <a:lstStyle/>
          <a:p>
            <a:r>
              <a:rPr lang="hr-HR" sz="1600" dirty="0"/>
              <a:t>3. ZAKLJUČCI I </a:t>
            </a:r>
            <a:r>
              <a:rPr lang="hr-HR" sz="1600" dirty="0" smtClean="0"/>
              <a:t>PREPORUKE - Plinska elektrana </a:t>
            </a:r>
            <a:r>
              <a:rPr lang="hr-HR" sz="1600" dirty="0"/>
              <a:t>na brodske motore</a:t>
            </a:r>
          </a:p>
        </p:txBody>
      </p:sp>
      <p:sp>
        <p:nvSpPr>
          <p:cNvPr id="2" name="TekstniOkvir 1"/>
          <p:cNvSpPr txBox="1"/>
          <p:nvPr/>
        </p:nvSpPr>
        <p:spPr>
          <a:xfrm>
            <a:off x="121920" y="1103253"/>
            <a:ext cx="8928992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r-HR" sz="1600" b="1" u="sng" dirty="0" smtClean="0"/>
              <a:t>Do 2016. god. – Izgraditi regulacijsku elektranu od 250MW sa brodskim motorima</a:t>
            </a:r>
          </a:p>
          <a:p>
            <a:pPr marL="0" indent="0" algn="just">
              <a:buNone/>
            </a:pPr>
            <a:endParaRPr lang="hr-HR" sz="1400" dirty="0" smtClean="0"/>
          </a:p>
          <a:p>
            <a:pPr marL="0" indent="0" algn="just">
              <a:buNone/>
            </a:pPr>
            <a:r>
              <a:rPr lang="hr-HR" sz="1400" dirty="0" smtClean="0"/>
              <a:t>U </a:t>
            </a:r>
            <a:r>
              <a:rPr lang="hr-HR" sz="1400" dirty="0"/>
              <a:t>ovisnosti o tehničkim uvjetima otvaraju se  3 mogućnosti:</a:t>
            </a:r>
          </a:p>
          <a:p>
            <a:pPr marL="571500" indent="-571500" algn="just">
              <a:buFont typeface="+mj-lt"/>
              <a:buAutoNum type="alphaLcPeriod"/>
            </a:pPr>
            <a:r>
              <a:rPr lang="hr-HR" sz="1400" dirty="0" smtClean="0"/>
              <a:t>Rekonstrukcija  </a:t>
            </a:r>
            <a:r>
              <a:rPr lang="hr-HR" sz="1400" dirty="0"/>
              <a:t>KTE </a:t>
            </a:r>
            <a:r>
              <a:rPr lang="hr-HR" sz="1400" dirty="0" err="1"/>
              <a:t>Jertovec</a:t>
            </a:r>
            <a:r>
              <a:rPr lang="hr-HR" sz="1400" dirty="0"/>
              <a:t> u regulacijsku elektranu na plin ugradnjom </a:t>
            </a:r>
            <a:r>
              <a:rPr lang="hr-HR" sz="1400" dirty="0" err="1"/>
              <a:t>sporohodnih</a:t>
            </a:r>
            <a:r>
              <a:rPr lang="hr-HR" sz="1400" dirty="0"/>
              <a:t> brodskih motora </a:t>
            </a:r>
          </a:p>
          <a:p>
            <a:pPr marL="571500" lvl="0" indent="-571500" algn="just">
              <a:buFont typeface="+mj-lt"/>
              <a:buAutoNum type="alphaLcPeriod"/>
            </a:pPr>
            <a:r>
              <a:rPr lang="hr-HR" sz="1400" dirty="0"/>
              <a:t>Izgradnja </a:t>
            </a:r>
            <a:r>
              <a:rPr lang="hr-HR" sz="1400" dirty="0" smtClean="0"/>
              <a:t>plinske regulacijske </a:t>
            </a:r>
            <a:r>
              <a:rPr lang="hr-HR" sz="1400" dirty="0"/>
              <a:t>elektrane od </a:t>
            </a:r>
            <a:r>
              <a:rPr lang="hr-HR" sz="1400" b="1" dirty="0" smtClean="0"/>
              <a:t>300MW</a:t>
            </a:r>
            <a:r>
              <a:rPr lang="hr-HR" sz="1400" dirty="0" smtClean="0"/>
              <a:t> </a:t>
            </a:r>
            <a:r>
              <a:rPr lang="hr-HR" sz="1400" dirty="0"/>
              <a:t>na lokaciji sadašnje termoelektrane u Rijeci</a:t>
            </a:r>
          </a:p>
          <a:p>
            <a:pPr marL="571500" lvl="0" indent="-571500" algn="just">
              <a:buFont typeface="+mj-lt"/>
              <a:buAutoNum type="alphaLcPeriod"/>
            </a:pPr>
            <a:r>
              <a:rPr lang="hr-HR" sz="1400" dirty="0"/>
              <a:t>Izgradnja plinske regulacijske elektrane od </a:t>
            </a:r>
            <a:r>
              <a:rPr lang="hr-HR" sz="1400" b="1" dirty="0"/>
              <a:t>250MW</a:t>
            </a:r>
            <a:r>
              <a:rPr lang="hr-HR" sz="1400" dirty="0"/>
              <a:t> u Obrovcu na prostoru stare tvornice </a:t>
            </a:r>
            <a:r>
              <a:rPr lang="hr-HR" sz="1400" dirty="0" err="1"/>
              <a:t>Jadral</a:t>
            </a:r>
            <a:endParaRPr lang="hr-HR" sz="1400" dirty="0"/>
          </a:p>
          <a:p>
            <a:pPr algn="just"/>
            <a:endParaRPr lang="hr-HR" sz="1400" dirty="0" smtClean="0"/>
          </a:p>
          <a:p>
            <a:pPr algn="just"/>
            <a:endParaRPr lang="hr-HR" sz="1400" dirty="0" smtClean="0"/>
          </a:p>
        </p:txBody>
      </p:sp>
      <p:sp>
        <p:nvSpPr>
          <p:cNvPr id="8" name="Rezervirano mjesto datuma 3"/>
          <p:cNvSpPr>
            <a:spLocks noGrp="1"/>
          </p:cNvSpPr>
          <p:nvPr>
            <p:ph type="dt" sz="half" idx="10"/>
          </p:nvPr>
        </p:nvSpPr>
        <p:spPr>
          <a:xfrm>
            <a:off x="466828" y="7677378"/>
            <a:ext cx="2133600" cy="365125"/>
          </a:xfrm>
        </p:spPr>
        <p:txBody>
          <a:bodyPr/>
          <a:lstStyle/>
          <a:p>
            <a:pPr>
              <a:defRPr/>
            </a:pPr>
            <a:fld id="{9B7E7673-2AF2-49B3-A1C8-255B04CFD1F9}" type="datetime1">
              <a:rPr lang="hr-HR" smtClean="0"/>
              <a:pPr>
                <a:defRPr/>
              </a:pPr>
              <a:t>18.6.2014</a:t>
            </a:fld>
            <a:endParaRPr lang="hr-HR"/>
          </a:p>
        </p:txBody>
      </p:sp>
      <p:sp>
        <p:nvSpPr>
          <p:cNvPr id="9" name="Rezervirano mjesto podnožja 4"/>
          <p:cNvSpPr>
            <a:spLocks noGrp="1"/>
          </p:cNvSpPr>
          <p:nvPr>
            <p:ph type="ftr" sz="quarter" idx="11"/>
          </p:nvPr>
        </p:nvSpPr>
        <p:spPr>
          <a:xfrm>
            <a:off x="3133828" y="7677378"/>
            <a:ext cx="2895600" cy="365125"/>
          </a:xfrm>
        </p:spPr>
        <p:txBody>
          <a:bodyPr/>
          <a:lstStyle/>
          <a:p>
            <a:pPr>
              <a:defRPr/>
            </a:pPr>
            <a:r>
              <a:rPr lang="hr-HR" smtClean="0"/>
              <a:t>www.cemp.hr</a:t>
            </a:r>
            <a:endParaRPr lang="hr-HR"/>
          </a:p>
        </p:txBody>
      </p:sp>
      <p:sp>
        <p:nvSpPr>
          <p:cNvPr id="10" name="Rezervirano mjesto broja slajda 5"/>
          <p:cNvSpPr>
            <a:spLocks noGrp="1"/>
          </p:cNvSpPr>
          <p:nvPr>
            <p:ph type="sldNum" sz="quarter" idx="12"/>
          </p:nvPr>
        </p:nvSpPr>
        <p:spPr>
          <a:xfrm>
            <a:off x="6562828" y="7494815"/>
            <a:ext cx="2133600" cy="365125"/>
          </a:xfrm>
        </p:spPr>
        <p:txBody>
          <a:bodyPr/>
          <a:lstStyle/>
          <a:p>
            <a:pPr>
              <a:defRPr/>
            </a:pPr>
            <a:fld id="{A2E168C8-2717-425A-B380-126174E0D3DF}" type="slidenum">
              <a:rPr lang="hr-HR" smtClean="0"/>
              <a:pPr>
                <a:defRPr/>
              </a:pPr>
              <a:t>13</a:t>
            </a:fld>
            <a:endParaRPr lang="hr-HR"/>
          </a:p>
        </p:txBody>
      </p:sp>
      <p:graphicFrame>
        <p:nvGraphicFramePr>
          <p:cNvPr id="11" name="Tablic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3459626"/>
              </p:ext>
            </p:extLst>
          </p:nvPr>
        </p:nvGraphicFramePr>
        <p:xfrm>
          <a:off x="104103" y="2599949"/>
          <a:ext cx="4752528" cy="30184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9213"/>
                <a:gridCol w="1584176"/>
                <a:gridCol w="1499139"/>
              </a:tblGrid>
              <a:tr h="1185403">
                <a:tc>
                  <a:txBody>
                    <a:bodyPr/>
                    <a:lstStyle/>
                    <a:p>
                      <a:pPr algn="ctr"/>
                      <a:r>
                        <a:rPr lang="hr-HR" sz="1400" dirty="0" smtClean="0"/>
                        <a:t>PRIMJER:</a:t>
                      </a:r>
                    </a:p>
                    <a:p>
                      <a:pPr algn="ctr"/>
                      <a:r>
                        <a:rPr lang="hr-HR" sz="1400" u="sng" dirty="0" smtClean="0"/>
                        <a:t>REKONSTRUKCIJA</a:t>
                      </a:r>
                      <a:r>
                        <a:rPr lang="hr-HR" sz="1400" u="sng" baseline="0" dirty="0" smtClean="0"/>
                        <a:t> TE RIJEKA</a:t>
                      </a:r>
                      <a:endParaRPr lang="hr-HR" sz="1400" u="sng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dirty="0" smtClean="0"/>
                        <a:t>Estonija           plinska regulacijska</a:t>
                      </a:r>
                      <a:r>
                        <a:rPr lang="hr-HR" sz="1400" baseline="0" dirty="0" smtClean="0"/>
                        <a:t>  elektrana  sa </a:t>
                      </a:r>
                      <a:r>
                        <a:rPr lang="hr-HR" sz="1400" baseline="0" dirty="0" err="1" smtClean="0"/>
                        <a:t>Wartsila</a:t>
                      </a:r>
                      <a:r>
                        <a:rPr lang="hr-HR" sz="1400" baseline="0" dirty="0" smtClean="0"/>
                        <a:t> brodskim motorima*</a:t>
                      </a:r>
                      <a:endParaRPr lang="hr-HR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1400" dirty="0" smtClean="0"/>
                        <a:t>TE Rijeka prelazak sa mazuta na plin</a:t>
                      </a:r>
                      <a:endParaRPr lang="hr-HR" sz="1400" dirty="0"/>
                    </a:p>
                  </a:txBody>
                  <a:tcPr anchor="ctr"/>
                </a:tc>
              </a:tr>
              <a:tr h="296351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Snaga</a:t>
                      </a:r>
                      <a:endParaRPr lang="hr-H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250 MW</a:t>
                      </a:r>
                      <a:endParaRPr lang="hr-H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300 MW</a:t>
                      </a:r>
                      <a:endParaRPr lang="hr-HR" sz="1400" dirty="0"/>
                    </a:p>
                  </a:txBody>
                  <a:tcPr/>
                </a:tc>
              </a:tr>
              <a:tr h="296351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Cijena izgradnje</a:t>
                      </a:r>
                      <a:endParaRPr lang="hr-H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129 M€</a:t>
                      </a:r>
                      <a:endParaRPr lang="hr-H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480 M€</a:t>
                      </a:r>
                      <a:endParaRPr lang="hr-HR" sz="1400" dirty="0"/>
                    </a:p>
                  </a:txBody>
                  <a:tcPr/>
                </a:tc>
              </a:tr>
              <a:tr h="518613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Cijena izgradnje / M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0,516 M€/MW</a:t>
                      </a:r>
                      <a:endParaRPr lang="hr-H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1,6 M€/MW</a:t>
                      </a:r>
                      <a:endParaRPr lang="hr-HR" sz="1400" dirty="0"/>
                    </a:p>
                  </a:txBody>
                  <a:tcPr/>
                </a:tc>
              </a:tr>
              <a:tr h="518613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Stupanj</a:t>
                      </a:r>
                      <a:r>
                        <a:rPr lang="hr-HR" sz="1400" baseline="0" dirty="0" smtClean="0"/>
                        <a:t> iskoristivosti</a:t>
                      </a:r>
                      <a:endParaRPr lang="hr-HR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48%-54%</a:t>
                      </a:r>
                      <a:endParaRPr lang="hr-HR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58%</a:t>
                      </a:r>
                      <a:endParaRPr lang="hr-HR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3" name="Tablic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91718302"/>
              </p:ext>
            </p:extLst>
          </p:nvPr>
        </p:nvGraphicFramePr>
        <p:xfrm>
          <a:off x="5301708" y="2580048"/>
          <a:ext cx="1944216" cy="31042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216"/>
              </a:tblGrid>
              <a:tr h="118382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dirty="0" smtClean="0"/>
                        <a:t>TE Rijeka </a:t>
                      </a:r>
                      <a:r>
                        <a:rPr lang="hr-HR" sz="1400" baseline="0" dirty="0" smtClean="0"/>
                        <a:t>                </a:t>
                      </a:r>
                      <a:r>
                        <a:rPr lang="hr-HR" sz="1400" dirty="0" smtClean="0"/>
                        <a:t>  izgradnja regulacijske elektrane</a:t>
                      </a:r>
                      <a:r>
                        <a:rPr lang="hr-HR" sz="1400" baseline="0" dirty="0" smtClean="0"/>
                        <a:t> na plin sa brodskim motorima iz 3.Maj MID Rijeka po </a:t>
                      </a:r>
                      <a:r>
                        <a:rPr lang="hr-HR" sz="1400" baseline="0" dirty="0" err="1" smtClean="0"/>
                        <a:t>Wartsila</a:t>
                      </a:r>
                      <a:r>
                        <a:rPr lang="hr-HR" sz="1400" baseline="0" dirty="0" smtClean="0"/>
                        <a:t> licenci</a:t>
                      </a:r>
                      <a:endParaRPr lang="hr-HR" sz="1400" dirty="0" smtClean="0"/>
                    </a:p>
                  </a:txBody>
                  <a:tcPr anchor="ctr"/>
                </a:tc>
              </a:tr>
              <a:tr h="368223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300 MW</a:t>
                      </a:r>
                      <a:endParaRPr lang="hr-HR" sz="1400" dirty="0"/>
                    </a:p>
                  </a:txBody>
                  <a:tcPr/>
                </a:tc>
              </a:tr>
              <a:tr h="316483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155 M€</a:t>
                      </a:r>
                      <a:endParaRPr lang="hr-HR" sz="1400" dirty="0"/>
                    </a:p>
                  </a:txBody>
                  <a:tcPr/>
                </a:tc>
              </a:tr>
              <a:tr h="492837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0,516 M€/MW</a:t>
                      </a:r>
                      <a:endParaRPr lang="hr-HR" sz="1400" dirty="0"/>
                    </a:p>
                  </a:txBody>
                  <a:tcPr/>
                </a:tc>
              </a:tr>
              <a:tr h="555144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52%</a:t>
                      </a:r>
                      <a:endParaRPr lang="hr-HR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4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3926151" y="4112886"/>
            <a:ext cx="2266950" cy="149225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r-HR"/>
          </a:p>
        </p:txBody>
      </p:sp>
      <p:sp>
        <p:nvSpPr>
          <p:cNvPr id="15" name="Naslov 1"/>
          <p:cNvSpPr txBox="1">
            <a:spLocks/>
          </p:cNvSpPr>
          <p:nvPr/>
        </p:nvSpPr>
        <p:spPr bwMode="auto">
          <a:xfrm>
            <a:off x="121920" y="5489772"/>
            <a:ext cx="6175784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200" dirty="0" smtClean="0"/>
              <a:t>*www.wartsila.com</a:t>
            </a:r>
            <a:endParaRPr lang="hr-HR" sz="1200" dirty="0"/>
          </a:p>
        </p:txBody>
      </p:sp>
      <p:sp>
        <p:nvSpPr>
          <p:cNvPr id="16" name="AutoShape 3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6320651" y="4112885"/>
            <a:ext cx="2266950" cy="149225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r-HR"/>
          </a:p>
        </p:txBody>
      </p:sp>
      <p:graphicFrame>
        <p:nvGraphicFramePr>
          <p:cNvPr id="17" name="Tablic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44606099"/>
              </p:ext>
            </p:extLst>
          </p:nvPr>
        </p:nvGraphicFramePr>
        <p:xfrm>
          <a:off x="7644580" y="2599949"/>
          <a:ext cx="1406331" cy="3084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6331"/>
              </a:tblGrid>
              <a:tr h="180376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dirty="0" smtClean="0"/>
                        <a:t>Potencijalno</a:t>
                      </a:r>
                      <a:r>
                        <a:rPr lang="hr-HR" sz="1400" baseline="0" dirty="0" smtClean="0"/>
                        <a:t>  “ušteđena” sredstva  preusmjeriti na gradnju reverzibilne  HE Jasenica</a:t>
                      </a:r>
                      <a:endParaRPr lang="hr-HR" sz="1400" dirty="0" smtClean="0"/>
                    </a:p>
                  </a:txBody>
                  <a:tcPr anchor="ctr"/>
                </a:tc>
              </a:tr>
              <a:tr h="320156">
                <a:tc>
                  <a:txBody>
                    <a:bodyPr/>
                    <a:lstStyle/>
                    <a:p>
                      <a:endParaRPr lang="hr-HR" sz="1400" dirty="0"/>
                    </a:p>
                  </a:txBody>
                  <a:tcPr/>
                </a:tc>
              </a:tr>
              <a:tr h="320156">
                <a:tc>
                  <a:txBody>
                    <a:bodyPr/>
                    <a:lstStyle/>
                    <a:p>
                      <a:r>
                        <a:rPr lang="hr-HR" sz="1400" dirty="0" smtClean="0"/>
                        <a:t>325 M€</a:t>
                      </a:r>
                      <a:endParaRPr lang="hr-HR" sz="14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  <a:tr h="320156">
                <a:tc>
                  <a:txBody>
                    <a:bodyPr/>
                    <a:lstStyle/>
                    <a:p>
                      <a:endParaRPr lang="hr-HR" sz="1400" dirty="0"/>
                    </a:p>
                  </a:txBody>
                  <a:tcPr/>
                </a:tc>
              </a:tr>
              <a:tr h="320156">
                <a:tc>
                  <a:txBody>
                    <a:bodyPr/>
                    <a:lstStyle/>
                    <a:p>
                      <a:endParaRPr lang="hr-HR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" name="Naslov 1"/>
          <p:cNvSpPr txBox="1">
            <a:spLocks/>
          </p:cNvSpPr>
          <p:nvPr/>
        </p:nvSpPr>
        <p:spPr bwMode="auto">
          <a:xfrm>
            <a:off x="397888" y="5838764"/>
            <a:ext cx="8451472" cy="97377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hr-HR" sz="1800" b="1" dirty="0" smtClean="0"/>
              <a:t> Razlika u cijeni izgradnje regulacijske elektrane sa brodskim motorima u odnosu na klasičnu termoelektranu, ovu investiciju čine i više nego isplativom !!</a:t>
            </a:r>
            <a:endParaRPr lang="hr-HR" sz="1800" b="1" dirty="0"/>
          </a:p>
        </p:txBody>
      </p:sp>
    </p:spTree>
    <p:extLst>
      <p:ext uri="{BB962C8B-B14F-4D97-AF65-F5344CB8AC3E}">
        <p14:creationId xmlns:p14="http://schemas.microsoft.com/office/powerpoint/2010/main" xmlns="" val="485868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098800" y="264796"/>
            <a:ext cx="8229600" cy="562074"/>
          </a:xfrm>
        </p:spPr>
        <p:txBody>
          <a:bodyPr>
            <a:noAutofit/>
          </a:bodyPr>
          <a:lstStyle/>
          <a:p>
            <a:r>
              <a:rPr lang="hr-HR" sz="1600" dirty="0"/>
              <a:t>3. ZAKLJUČCI I PREPORUKE </a:t>
            </a:r>
            <a:r>
              <a:rPr lang="hr-HR" sz="1600" dirty="0" smtClean="0"/>
              <a:t>– </a:t>
            </a:r>
            <a:r>
              <a:rPr lang="hr-HR" sz="1800" dirty="0" smtClean="0"/>
              <a:t>RHE Jasenice</a:t>
            </a:r>
            <a:endParaRPr lang="hr-HR" sz="1600" dirty="0"/>
          </a:p>
        </p:txBody>
      </p:sp>
      <p:sp>
        <p:nvSpPr>
          <p:cNvPr id="2" name="TekstniOkvir 1"/>
          <p:cNvSpPr txBox="1"/>
          <p:nvPr/>
        </p:nvSpPr>
        <p:spPr>
          <a:xfrm>
            <a:off x="121920" y="1103253"/>
            <a:ext cx="892899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r-HR" sz="1600" b="1" u="sng" dirty="0" smtClean="0"/>
              <a:t>Do 2020/25. god. - Izgradnja RHE Jasenice</a:t>
            </a:r>
          </a:p>
          <a:p>
            <a:pPr algn="just"/>
            <a:endParaRPr lang="hr-HR" sz="1600" b="1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r-HR" sz="1400" dirty="0" smtClean="0"/>
              <a:t>Potencijal instalirane snage ovisi o </a:t>
            </a:r>
            <a:r>
              <a:rPr lang="hr-HR" sz="1400" dirty="0" err="1" smtClean="0"/>
              <a:t>faznosti</a:t>
            </a:r>
            <a:r>
              <a:rPr lang="hr-HR" sz="1400" dirty="0" smtClean="0"/>
              <a:t> izgradnje i kreće se od  300MW do maksimalno 1050 MW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r-HR" sz="1400" dirty="0" smtClean="0"/>
              <a:t>Korištenje viška EE iz OIE za crpni rad, te naknadnu </a:t>
            </a:r>
            <a:r>
              <a:rPr lang="hr-HR" sz="1400" dirty="0"/>
              <a:t>proizvodnju električne energije u vršnim razdobljima opterećenja u sustavu. </a:t>
            </a:r>
            <a:r>
              <a:rPr lang="hr-HR" sz="1400" dirty="0" smtClean="0"/>
              <a:t>Uravnoteženje </a:t>
            </a:r>
            <a:r>
              <a:rPr lang="hr-HR" sz="1400" dirty="0"/>
              <a:t>i </a:t>
            </a:r>
            <a:r>
              <a:rPr lang="hr-HR" sz="1400" dirty="0" smtClean="0"/>
              <a:t>pouzdanost </a:t>
            </a:r>
            <a:r>
              <a:rPr lang="hr-HR" sz="1400" dirty="0"/>
              <a:t>elektroenergetskog </a:t>
            </a:r>
            <a:r>
              <a:rPr lang="hr-HR" sz="1400" dirty="0" smtClean="0"/>
              <a:t>sustava. Pružanje </a:t>
            </a:r>
            <a:r>
              <a:rPr lang="hr-HR" sz="1400" dirty="0" err="1" smtClean="0"/>
              <a:t>pomićnih</a:t>
            </a:r>
            <a:r>
              <a:rPr lang="hr-HR" sz="1400" dirty="0" smtClean="0"/>
              <a:t> usluga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hr-HR" sz="1400" dirty="0" smtClean="0"/>
              <a:t>Rješavanje ekološkog problema sanacijom </a:t>
            </a:r>
            <a:r>
              <a:rPr lang="hr-HR" sz="1400" dirty="0"/>
              <a:t>bazena crvenog mulja tvornice </a:t>
            </a:r>
            <a:r>
              <a:rPr lang="hr-HR" sz="1400" dirty="0" smtClean="0"/>
              <a:t>glinice </a:t>
            </a:r>
            <a:r>
              <a:rPr lang="hr-HR" sz="1400" dirty="0" err="1" smtClean="0"/>
              <a:t>Jadral</a:t>
            </a:r>
            <a:r>
              <a:rPr lang="hr-HR" sz="1400" dirty="0" smtClean="0"/>
              <a:t> kao i zbrinjavanje šljake TFL-Šibenik trenutno odložene u blizini Benkovca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hr-HR" sz="1400" dirty="0" smtClean="0"/>
          </a:p>
        </p:txBody>
      </p:sp>
      <p:pic>
        <p:nvPicPr>
          <p:cNvPr id="6" name="Rezervirano mjesto sadržaja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48480" y="2936521"/>
            <a:ext cx="4795520" cy="3921480"/>
          </a:xfrm>
        </p:spPr>
      </p:pic>
      <p:pic>
        <p:nvPicPr>
          <p:cNvPr id="7" name="Slika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1920" y="2936522"/>
            <a:ext cx="4174389" cy="392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188329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Pokrenimo Obnovljivu Republiku Hrvatsku</a:t>
            </a:r>
            <a:endParaRPr lang="hr-HR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57200" y="1624012"/>
            <a:ext cx="8229600" cy="4878387"/>
          </a:xfrm>
        </p:spPr>
        <p:txBody>
          <a:bodyPr/>
          <a:lstStyle/>
          <a:p>
            <a:endParaRPr lang="hr-HR" dirty="0" smtClean="0"/>
          </a:p>
          <a:p>
            <a:r>
              <a:rPr lang="hr-HR" b="1" dirty="0" smtClean="0"/>
              <a:t> </a:t>
            </a:r>
            <a:endParaRPr lang="hr-HR" dirty="0"/>
          </a:p>
        </p:txBody>
      </p:sp>
      <p:graphicFrame>
        <p:nvGraphicFramePr>
          <p:cNvPr id="5" name="Dijagram 4"/>
          <p:cNvGraphicFramePr/>
          <p:nvPr>
            <p:extLst>
              <p:ext uri="{D42A27DB-BD31-4B8C-83A1-F6EECF244321}">
                <p14:modId xmlns:p14="http://schemas.microsoft.com/office/powerpoint/2010/main" xmlns="" val="4246929585"/>
              </p:ext>
            </p:extLst>
          </p:nvPr>
        </p:nvGraphicFramePr>
        <p:xfrm>
          <a:off x="457200" y="1634172"/>
          <a:ext cx="8463280" cy="50307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adržaja 1"/>
          <p:cNvSpPr>
            <a:spLocks noGrp="1"/>
          </p:cNvSpPr>
          <p:nvPr>
            <p:ph idx="1"/>
          </p:nvPr>
        </p:nvSpPr>
        <p:spPr>
          <a:xfrm>
            <a:off x="-127356" y="1413312"/>
            <a:ext cx="9073300" cy="4525963"/>
          </a:xfrm>
        </p:spPr>
        <p:txBody>
          <a:bodyPr>
            <a:normAutofit/>
          </a:bodyPr>
          <a:lstStyle/>
          <a:p>
            <a:pPr marL="624078" indent="-514350">
              <a:buFont typeface="+mj-lt"/>
              <a:buAutoNum type="arabicPeriod"/>
            </a:pPr>
            <a:endParaRPr lang="hr-HR" b="1" dirty="0" smtClean="0"/>
          </a:p>
          <a:p>
            <a:pPr marL="365760" lvl="1" indent="0" algn="just">
              <a:buNone/>
            </a:pPr>
            <a:r>
              <a:rPr lang="vi-VN" sz="1600" dirty="0">
                <a:latin typeface="Calibri" panose="020F0502020204030204" pitchFamily="34" charset="0"/>
              </a:rPr>
              <a:t>Iz Pravilnika o korištenju obnovljivih izvora energije i kogeneracije (NN 088/2012) jasno su naznačeni ciljevi: „Korištenjem OIE i kogeneracije ostvaruju se interesi RH u području energetike, utvrđeni strategijom energetskog razvitka RH, zakonima i drugim propisima kojima se uređuje obavljanje energetskih djelatnosti, osobito u pogledu</a:t>
            </a:r>
            <a:r>
              <a:rPr lang="vi-VN" sz="1600" dirty="0" smtClean="0">
                <a:latin typeface="Calibri" panose="020F0502020204030204" pitchFamily="34" charset="0"/>
              </a:rPr>
              <a:t>:</a:t>
            </a:r>
            <a:endParaRPr lang="hr-HR" sz="1600" dirty="0" smtClean="0">
              <a:latin typeface="Calibri" panose="020F0502020204030204" pitchFamily="34" charset="0"/>
            </a:endParaRPr>
          </a:p>
          <a:p>
            <a:pPr marL="365760" lvl="1" indent="0">
              <a:buNone/>
            </a:pPr>
            <a:endParaRPr lang="vi-VN" sz="1600" dirty="0">
              <a:latin typeface="Calibri" panose="020F0502020204030204" pitchFamily="34" charset="0"/>
            </a:endParaRPr>
          </a:p>
          <a:p>
            <a:pPr marL="651510" lvl="1">
              <a:buFont typeface="Arial" panose="020B0604020202020204" pitchFamily="34" charset="0"/>
              <a:buChar char="•"/>
            </a:pPr>
            <a:r>
              <a:rPr lang="vi-VN" sz="1600" dirty="0">
                <a:latin typeface="Calibri" panose="020F0502020204030204" pitchFamily="34" charset="0"/>
              </a:rPr>
              <a:t>	šireg korištenja vlastitih prirodnih energetskih resursa </a:t>
            </a:r>
          </a:p>
          <a:p>
            <a:pPr marL="651510" lvl="1">
              <a:buFont typeface="Arial" panose="020B0604020202020204" pitchFamily="34" charset="0"/>
              <a:buChar char="•"/>
            </a:pPr>
            <a:r>
              <a:rPr lang="vi-VN" sz="1600" dirty="0">
                <a:latin typeface="Calibri" panose="020F0502020204030204" pitchFamily="34" charset="0"/>
              </a:rPr>
              <a:t>	dugoročnog smanjenja ovisnosti o uvozu energenata</a:t>
            </a:r>
          </a:p>
          <a:p>
            <a:pPr marL="651510" lvl="1">
              <a:buFont typeface="Arial" panose="020B0604020202020204" pitchFamily="34" charset="0"/>
              <a:buChar char="•"/>
            </a:pPr>
            <a:r>
              <a:rPr lang="vi-VN" sz="1600" dirty="0">
                <a:latin typeface="Calibri" panose="020F0502020204030204" pitchFamily="34" charset="0"/>
              </a:rPr>
              <a:t>	učinkovitog korištenja energije i smanjenju utjecaja fosilnih goriva na okoliš</a:t>
            </a:r>
          </a:p>
          <a:p>
            <a:pPr marL="651510" lvl="1">
              <a:buFont typeface="Arial" panose="020B0604020202020204" pitchFamily="34" charset="0"/>
              <a:buChar char="•"/>
            </a:pPr>
            <a:r>
              <a:rPr lang="vi-VN" sz="1600" dirty="0">
                <a:latin typeface="Calibri" panose="020F0502020204030204" pitchFamily="34" charset="0"/>
              </a:rPr>
              <a:t>	otvaranja novih radnih mjesta i razvoja poduzetništva u energetici</a:t>
            </a:r>
          </a:p>
          <a:p>
            <a:pPr marL="651510" lvl="1">
              <a:buFont typeface="Arial" panose="020B0604020202020204" pitchFamily="34" charset="0"/>
              <a:buChar char="•"/>
            </a:pPr>
            <a:r>
              <a:rPr lang="vi-VN" sz="1600" dirty="0">
                <a:latin typeface="Calibri" panose="020F0502020204030204" pitchFamily="34" charset="0"/>
              </a:rPr>
              <a:t>	poticanja razvoja novih tehnologija i doprinosa lokalnoj zajednici</a:t>
            </a:r>
          </a:p>
          <a:p>
            <a:pPr marL="651510" lvl="1">
              <a:buFont typeface="Arial" panose="020B0604020202020204" pitchFamily="34" charset="0"/>
              <a:buChar char="•"/>
            </a:pPr>
            <a:r>
              <a:rPr lang="vi-VN" sz="1600" dirty="0">
                <a:latin typeface="Calibri" panose="020F0502020204030204" pitchFamily="34" charset="0"/>
              </a:rPr>
              <a:t>	diverzifikacija proizvodnje energije i povećanja sigurnosti opskrbe</a:t>
            </a:r>
          </a:p>
          <a:p>
            <a:pPr marL="880110" lvl="1" indent="-514350">
              <a:buFont typeface="+mj-lt"/>
              <a:buAutoNum type="arabicPeriod"/>
            </a:pPr>
            <a:endParaRPr lang="hr-HR" dirty="0"/>
          </a:p>
        </p:txBody>
      </p:sp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193040" y="1165226"/>
            <a:ext cx="8229600" cy="457200"/>
          </a:xfrm>
        </p:spPr>
        <p:txBody>
          <a:bodyPr/>
          <a:lstStyle/>
          <a:p>
            <a:r>
              <a:rPr lang="hr-HR" dirty="0" smtClean="0"/>
              <a:t>Cilj poticajnih mjer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xmlns="" val="2498757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adržaja 1"/>
          <p:cNvSpPr>
            <a:spLocks noGrp="1"/>
          </p:cNvSpPr>
          <p:nvPr>
            <p:ph idx="1"/>
          </p:nvPr>
        </p:nvSpPr>
        <p:spPr>
          <a:xfrm>
            <a:off x="35204" y="1412776"/>
            <a:ext cx="9073300" cy="4525963"/>
          </a:xfrm>
        </p:spPr>
        <p:txBody>
          <a:bodyPr>
            <a:normAutofit lnSpcReduction="10000"/>
          </a:bodyPr>
          <a:lstStyle/>
          <a:p>
            <a:pPr marL="624078" indent="-514350">
              <a:buFont typeface="+mj-lt"/>
              <a:buAutoNum type="arabicPeriod"/>
            </a:pPr>
            <a:endParaRPr lang="hr-HR" b="1" dirty="0" smtClean="0"/>
          </a:p>
          <a:p>
            <a:pPr marL="109728" indent="0">
              <a:buNone/>
            </a:pPr>
            <a:r>
              <a:rPr lang="hr-HR" sz="1800" b="1" dirty="0" smtClean="0">
                <a:solidFill>
                  <a:schemeClr val="tx1"/>
                </a:solidFill>
              </a:rPr>
              <a:t>  1</a:t>
            </a:r>
            <a:r>
              <a:rPr lang="hr-HR" sz="1800" b="1" dirty="0">
                <a:solidFill>
                  <a:schemeClr val="tx1"/>
                </a:solidFill>
              </a:rPr>
              <a:t>. KOJI SU OSNOVNI PROBLEMI PRI   INTEGRACIJI </a:t>
            </a:r>
            <a:r>
              <a:rPr lang="hr-HR" sz="1800" b="1" dirty="0" smtClean="0">
                <a:solidFill>
                  <a:schemeClr val="tx1"/>
                </a:solidFill>
              </a:rPr>
              <a:t>OIE </a:t>
            </a:r>
            <a:r>
              <a:rPr lang="hr-HR" sz="1800" b="1" dirty="0">
                <a:solidFill>
                  <a:schemeClr val="tx1"/>
                </a:solidFill>
              </a:rPr>
              <a:t>U HRVATSKOJ ?</a:t>
            </a:r>
          </a:p>
          <a:p>
            <a:pPr marL="365760" lvl="1" indent="0">
              <a:buNone/>
            </a:pPr>
            <a:r>
              <a:rPr lang="hr-HR" sz="2000" dirty="0" smtClean="0"/>
              <a:t>	1.1. Administrativni </a:t>
            </a:r>
            <a:r>
              <a:rPr lang="hr-HR" sz="2000" dirty="0"/>
              <a:t>problemi integracije </a:t>
            </a:r>
            <a:r>
              <a:rPr lang="hr-HR" sz="2000" dirty="0" smtClean="0"/>
              <a:t>OIE</a:t>
            </a:r>
          </a:p>
          <a:p>
            <a:pPr marL="365760" lvl="1" indent="0">
              <a:buNone/>
            </a:pPr>
            <a:r>
              <a:rPr lang="hr-HR" sz="2000" dirty="0" smtClean="0"/>
              <a:t>	1.2. </a:t>
            </a:r>
            <a:r>
              <a:rPr lang="hr-HR" sz="2000" dirty="0"/>
              <a:t>Tehnički </a:t>
            </a:r>
            <a:r>
              <a:rPr lang="hr-HR" sz="2000" dirty="0" smtClean="0"/>
              <a:t>problemi</a:t>
            </a:r>
          </a:p>
          <a:p>
            <a:pPr marL="365760" lvl="1" indent="0">
              <a:buNone/>
            </a:pPr>
            <a:r>
              <a:rPr lang="hr-HR" sz="2000" dirty="0" smtClean="0"/>
              <a:t>	1.3. </a:t>
            </a:r>
            <a:r>
              <a:rPr lang="hr-HR" sz="2000" dirty="0"/>
              <a:t>Problemi financijske </a:t>
            </a:r>
            <a:r>
              <a:rPr lang="hr-HR" sz="2000" dirty="0" smtClean="0"/>
              <a:t>prirode</a:t>
            </a:r>
          </a:p>
          <a:p>
            <a:pPr marL="365760" lvl="1" indent="0">
              <a:buNone/>
            </a:pPr>
            <a:r>
              <a:rPr lang="hr-HR" sz="2000" dirty="0" smtClean="0"/>
              <a:t>  1.4. Izmjene u tarifnom sustavu </a:t>
            </a:r>
          </a:p>
          <a:p>
            <a:pPr marL="365760" lvl="1" indent="0">
              <a:buNone/>
            </a:pPr>
            <a:endParaRPr lang="hr-HR" sz="2000" dirty="0" smtClean="0"/>
          </a:p>
          <a:p>
            <a:pPr marL="365760" lvl="1" indent="0">
              <a:buNone/>
            </a:pPr>
            <a:r>
              <a:rPr lang="hr-HR" sz="1800" b="1" dirty="0" smtClean="0"/>
              <a:t>2. ŠTO JE POTREBNO ZA VEĆU INTEGRACIJU OIE U HRVATSKI SUSTAV ?</a:t>
            </a:r>
          </a:p>
          <a:p>
            <a:pPr marL="365760" lvl="1" indent="0">
              <a:buNone/>
            </a:pPr>
            <a:r>
              <a:rPr lang="hr-HR" b="1" dirty="0" smtClean="0"/>
              <a:t>	</a:t>
            </a:r>
            <a:r>
              <a:rPr lang="hr-HR" sz="2000" dirty="0"/>
              <a:t>2.1. </a:t>
            </a:r>
            <a:r>
              <a:rPr lang="pl-PL" sz="2000" dirty="0"/>
              <a:t>Administrativne i organizacijske mjere za veću integraciju OIE u EES</a:t>
            </a:r>
          </a:p>
          <a:p>
            <a:pPr marL="365760" lvl="1" indent="0">
              <a:buNone/>
            </a:pPr>
            <a:r>
              <a:rPr lang="hr-HR" sz="2000" dirty="0"/>
              <a:t>	</a:t>
            </a:r>
            <a:r>
              <a:rPr lang="hr-HR" sz="2000" dirty="0" smtClean="0"/>
              <a:t>2.2. </a:t>
            </a:r>
            <a:r>
              <a:rPr lang="hr-HR" sz="2000" dirty="0"/>
              <a:t>Tehničke mjere potrebne za veću integraciju OIE u EES</a:t>
            </a:r>
          </a:p>
          <a:p>
            <a:pPr marL="365760" lvl="1" indent="0">
              <a:buNone/>
            </a:pPr>
            <a:endParaRPr lang="pl-PL" sz="2000" dirty="0" smtClean="0"/>
          </a:p>
          <a:p>
            <a:pPr marL="365760" lvl="1" indent="0">
              <a:buNone/>
            </a:pPr>
            <a:r>
              <a:rPr lang="pl-PL" sz="2000" b="1" dirty="0"/>
              <a:t>3. </a:t>
            </a:r>
            <a:r>
              <a:rPr lang="hr-HR" sz="2000" b="1" dirty="0"/>
              <a:t>ZAKLJUČCI I PREPORUKE</a:t>
            </a:r>
          </a:p>
          <a:p>
            <a:pPr marL="365760" lvl="1" indent="0">
              <a:buNone/>
            </a:pPr>
            <a:r>
              <a:rPr lang="hr-HR" dirty="0" smtClean="0"/>
              <a:t> </a:t>
            </a:r>
          </a:p>
          <a:p>
            <a:pPr marL="880110" lvl="1" indent="-514350">
              <a:buFont typeface="+mj-lt"/>
              <a:buAutoNum type="arabicPeriod"/>
            </a:pPr>
            <a:endParaRPr lang="hr-HR" dirty="0"/>
          </a:p>
        </p:txBody>
      </p:sp>
      <p:sp>
        <p:nvSpPr>
          <p:cNvPr id="3" name="Naslov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Sadržaj: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xmlns="" val="18035082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zervirano mjesto sadržaja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282440529"/>
              </p:ext>
            </p:extLst>
          </p:nvPr>
        </p:nvGraphicFramePr>
        <p:xfrm>
          <a:off x="193040" y="1092835"/>
          <a:ext cx="8862888" cy="28390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322320" y="419001"/>
            <a:ext cx="8229600" cy="562074"/>
          </a:xfrm>
        </p:spPr>
        <p:txBody>
          <a:bodyPr>
            <a:noAutofit/>
          </a:bodyPr>
          <a:lstStyle/>
          <a:p>
            <a:r>
              <a:rPr lang="hr-HR" sz="1600" dirty="0"/>
              <a:t>1. KOJI SU OSNOVNI PROBLEMI PRI </a:t>
            </a:r>
            <a:r>
              <a:rPr lang="hr-HR" sz="1600" dirty="0" smtClean="0"/>
              <a:t>INTEGRACIJI OIE </a:t>
            </a:r>
            <a:r>
              <a:rPr lang="hr-HR" sz="1600" dirty="0"/>
              <a:t>U HRVATSKOJ </a:t>
            </a:r>
          </a:p>
        </p:txBody>
      </p:sp>
      <p:graphicFrame>
        <p:nvGraphicFramePr>
          <p:cNvPr id="5" name="Rezervirano mjesto sadržaja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53792475"/>
              </p:ext>
            </p:extLst>
          </p:nvPr>
        </p:nvGraphicFramePr>
        <p:xfrm>
          <a:off x="121920" y="4142018"/>
          <a:ext cx="8934008" cy="2561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xmlns="" val="11697795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zervirano mjesto sadržaja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881417218"/>
              </p:ext>
            </p:extLst>
          </p:nvPr>
        </p:nvGraphicFramePr>
        <p:xfrm>
          <a:off x="353031" y="1208127"/>
          <a:ext cx="8608089" cy="50120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169920" y="396558"/>
            <a:ext cx="8229600" cy="562074"/>
          </a:xfrm>
        </p:spPr>
        <p:txBody>
          <a:bodyPr>
            <a:noAutofit/>
          </a:bodyPr>
          <a:lstStyle/>
          <a:p>
            <a:r>
              <a:rPr lang="hr-HR" sz="1600" dirty="0"/>
              <a:t>1. KOJI SU OSNOVNI PROBLEMI PRI </a:t>
            </a:r>
            <a:r>
              <a:rPr lang="hr-HR" sz="1600" dirty="0" smtClean="0"/>
              <a:t>INTEGRACIJI  OIE U </a:t>
            </a:r>
            <a:r>
              <a:rPr lang="hr-HR" sz="1600" dirty="0"/>
              <a:t>HRVATSKOJ </a:t>
            </a:r>
          </a:p>
        </p:txBody>
      </p:sp>
    </p:spTree>
    <p:extLst>
      <p:ext uri="{BB962C8B-B14F-4D97-AF65-F5344CB8AC3E}">
        <p14:creationId xmlns:p14="http://schemas.microsoft.com/office/powerpoint/2010/main" xmlns="" val="29258230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2"/>
          <p:cNvSpPr txBox="1">
            <a:spLocks/>
          </p:cNvSpPr>
          <p:nvPr/>
        </p:nvSpPr>
        <p:spPr bwMode="auto">
          <a:xfrm>
            <a:off x="3169920" y="396558"/>
            <a:ext cx="8229600" cy="562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92D2"/>
                </a:solidFill>
                <a:latin typeface="+mj-lt"/>
                <a:ea typeface="ヒラギノ角ゴ Pro W3" charset="-128"/>
                <a:cs typeface="ヒラギノ角ゴ Pro W3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2D2"/>
                </a:solidFill>
                <a:latin typeface="Calibri" charset="0"/>
                <a:ea typeface="ヒラギノ角ゴ Pro W3" charset="-128"/>
                <a:cs typeface="ヒラギノ角ゴ Pro W3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2D2"/>
                </a:solidFill>
                <a:latin typeface="Calibri" charset="0"/>
                <a:ea typeface="ヒラギノ角ゴ Pro W3" charset="-128"/>
                <a:cs typeface="ヒラギノ角ゴ Pro W3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2D2"/>
                </a:solidFill>
                <a:latin typeface="Calibri" charset="0"/>
                <a:ea typeface="ヒラギノ角ゴ Pro W3" charset="-128"/>
                <a:cs typeface="ヒラギノ角ゴ Pro W3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2D2"/>
                </a:solidFill>
                <a:latin typeface="Calibri" charset="0"/>
                <a:ea typeface="ヒラギノ角ゴ Pro W3" charset="-128"/>
                <a:cs typeface="ヒラギノ角ゴ Pro W3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0092D2"/>
                </a:solidFill>
                <a:latin typeface="Calibri" charset="0"/>
                <a:ea typeface="ヒラギノ角ゴ Pro W3" charset="-128"/>
                <a:cs typeface="ヒラギノ角ゴ Pro W3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0092D2"/>
                </a:solidFill>
                <a:latin typeface="Calibri" charset="0"/>
                <a:ea typeface="ヒラギノ角ゴ Pro W3" charset="-128"/>
                <a:cs typeface="ヒラギノ角ゴ Pro W3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0092D2"/>
                </a:solidFill>
                <a:latin typeface="Calibri" charset="0"/>
                <a:ea typeface="ヒラギノ角ゴ Pro W3" charset="-128"/>
                <a:cs typeface="ヒラギノ角ゴ Pro W3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0092D2"/>
                </a:solidFill>
                <a:latin typeface="Calibri" charset="0"/>
                <a:ea typeface="ヒラギノ角ゴ Pro W3" charset="-128"/>
                <a:cs typeface="ヒラギノ角ゴ Pro W3" charset="-128"/>
              </a:defRPr>
            </a:lvl9pPr>
          </a:lstStyle>
          <a:p>
            <a:r>
              <a:rPr lang="hr-HR" sz="1600" smtClean="0"/>
              <a:t>1. KOJI SU OSNOVNI PROBLEMI PRI INTEGRACIJI  OIE U HRVATSKOJ </a:t>
            </a:r>
            <a:endParaRPr lang="hr-HR" sz="1600" dirty="0"/>
          </a:p>
        </p:txBody>
      </p:sp>
      <p:graphicFrame>
        <p:nvGraphicFramePr>
          <p:cNvPr id="5" name="Rezervirano mjesto sadržaja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37293225"/>
              </p:ext>
            </p:extLst>
          </p:nvPr>
        </p:nvGraphicFramePr>
        <p:xfrm>
          <a:off x="345441" y="1036321"/>
          <a:ext cx="8707120" cy="574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9854285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zervirano mjesto sadržaja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639708054"/>
              </p:ext>
            </p:extLst>
          </p:nvPr>
        </p:nvGraphicFramePr>
        <p:xfrm>
          <a:off x="81280" y="1066800"/>
          <a:ext cx="8868032" cy="1209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098800" y="264796"/>
            <a:ext cx="8229600" cy="562074"/>
          </a:xfrm>
        </p:spPr>
        <p:txBody>
          <a:bodyPr>
            <a:noAutofit/>
          </a:bodyPr>
          <a:lstStyle/>
          <a:p>
            <a:r>
              <a:rPr lang="hr-HR" sz="1600" dirty="0">
                <a:effectLst/>
              </a:rPr>
              <a:t>2. ŠTO JE POTREBNO ZA VEĆU INTEGRACIJU </a:t>
            </a:r>
            <a:r>
              <a:rPr lang="hr-HR" sz="1600" dirty="0" smtClean="0">
                <a:effectLst/>
              </a:rPr>
              <a:t>OIE </a:t>
            </a:r>
            <a:r>
              <a:rPr lang="hr-HR" sz="1600" dirty="0">
                <a:effectLst/>
              </a:rPr>
              <a:t>U HRVATSKI SUSTAV ?</a:t>
            </a:r>
            <a:endParaRPr lang="hr-HR" sz="1600" dirty="0"/>
          </a:p>
        </p:txBody>
      </p:sp>
      <p:graphicFrame>
        <p:nvGraphicFramePr>
          <p:cNvPr id="6" name="Rezervirano mjesto sadržaja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67371267"/>
              </p:ext>
            </p:extLst>
          </p:nvPr>
        </p:nvGraphicFramePr>
        <p:xfrm>
          <a:off x="81280" y="2296160"/>
          <a:ext cx="8922492" cy="4358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xmlns="" val="603915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zervirano mjesto sadržaja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402241218"/>
              </p:ext>
            </p:extLst>
          </p:nvPr>
        </p:nvGraphicFramePr>
        <p:xfrm>
          <a:off x="274320" y="1889760"/>
          <a:ext cx="8564880" cy="48666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513768" y="568043"/>
            <a:ext cx="8229600" cy="458117"/>
          </a:xfrm>
        </p:spPr>
        <p:txBody>
          <a:bodyPr>
            <a:noAutofit/>
          </a:bodyPr>
          <a:lstStyle/>
          <a:p>
            <a:r>
              <a:rPr lang="hr-HR" sz="2000" dirty="0">
                <a:effectLst/>
              </a:rPr>
              <a:t>3. ZAKLJUČCI I PREPORUKE</a:t>
            </a:r>
          </a:p>
        </p:txBody>
      </p:sp>
      <p:sp>
        <p:nvSpPr>
          <p:cNvPr id="2" name="TekstniOkvir 1"/>
          <p:cNvSpPr txBox="1"/>
          <p:nvPr/>
        </p:nvSpPr>
        <p:spPr>
          <a:xfrm>
            <a:off x="0" y="1026160"/>
            <a:ext cx="89289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600" dirty="0" smtClean="0"/>
              <a:t>S </a:t>
            </a:r>
            <a:r>
              <a:rPr lang="hr-HR" sz="1600" dirty="0"/>
              <a:t>obzirom na veliki raspoloživi potencijal i financijski atraktivan sustav poticanja interes investitora je i dalje iznimno </a:t>
            </a:r>
            <a:r>
              <a:rPr lang="hr-HR" sz="1600" dirty="0" smtClean="0"/>
              <a:t>velik. Da bi se ovaj interes zadovoljio nužno je provesti nekoliko mjera kod ključnih aktera industrije OIE.</a:t>
            </a:r>
            <a:endParaRPr lang="hr-HR" sz="1600" dirty="0"/>
          </a:p>
        </p:txBody>
      </p:sp>
    </p:spTree>
    <p:extLst>
      <p:ext uri="{BB962C8B-B14F-4D97-AF65-F5344CB8AC3E}">
        <p14:creationId xmlns:p14="http://schemas.microsoft.com/office/powerpoint/2010/main" xmlns="" val="41380890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zervirano mjesto sadržaja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014102125"/>
              </p:ext>
            </p:extLst>
          </p:nvPr>
        </p:nvGraphicFramePr>
        <p:xfrm>
          <a:off x="251520" y="1178560"/>
          <a:ext cx="8705160" cy="2042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Naslov 2"/>
          <p:cNvSpPr>
            <a:spLocks noGrp="1"/>
          </p:cNvSpPr>
          <p:nvPr>
            <p:ph type="title"/>
          </p:nvPr>
        </p:nvSpPr>
        <p:spPr>
          <a:xfrm>
            <a:off x="3523928" y="533192"/>
            <a:ext cx="8229600" cy="562074"/>
          </a:xfrm>
        </p:spPr>
        <p:txBody>
          <a:bodyPr>
            <a:noAutofit/>
          </a:bodyPr>
          <a:lstStyle/>
          <a:p>
            <a:r>
              <a:rPr lang="hr-HR" sz="2000" dirty="0">
                <a:effectLst/>
              </a:rPr>
              <a:t>3. ZAKLJUČCI I PREPORUKE</a:t>
            </a:r>
          </a:p>
        </p:txBody>
      </p:sp>
      <p:graphicFrame>
        <p:nvGraphicFramePr>
          <p:cNvPr id="6" name="Rezervirano mjesto sadržaja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55800548"/>
              </p:ext>
            </p:extLst>
          </p:nvPr>
        </p:nvGraphicFramePr>
        <p:xfrm>
          <a:off x="251520" y="3111138"/>
          <a:ext cx="8705160" cy="32591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xmlns="" val="36071553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11zuL6DvxkWsOBXEU.oq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11zuL6DvxkWsOBXEU.oq7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41</TotalTime>
  <Words>1913</Words>
  <Application>Microsoft Office PowerPoint</Application>
  <PresentationFormat>On-screen Show (4:3)</PresentationFormat>
  <Paragraphs>165</Paragraphs>
  <Slides>15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Office Theme</vt:lpstr>
      <vt:lpstr>1_Office Theme</vt:lpstr>
      <vt:lpstr>     Budućnost obnovljivih izvora energije i izmjene u tarifnom sustavu                              </vt:lpstr>
      <vt:lpstr>Cilj poticajnih mjera</vt:lpstr>
      <vt:lpstr>Sadržaj:</vt:lpstr>
      <vt:lpstr>1. KOJI SU OSNOVNI PROBLEMI PRI INTEGRACIJI OIE U HRVATSKOJ </vt:lpstr>
      <vt:lpstr>1. KOJI SU OSNOVNI PROBLEMI PRI INTEGRACIJI  OIE U HRVATSKOJ </vt:lpstr>
      <vt:lpstr>Slide 6</vt:lpstr>
      <vt:lpstr>2. ŠTO JE POTREBNO ZA VEĆU INTEGRACIJU OIE U HRVATSKI SUSTAV ?</vt:lpstr>
      <vt:lpstr>3. ZAKLJUČCI I PREPORUKE</vt:lpstr>
      <vt:lpstr>3. ZAKLJUČCI I PREPORUKE</vt:lpstr>
      <vt:lpstr>3. ZAKLJUČCI I PREPORUKE - Mikrosolar</vt:lpstr>
      <vt:lpstr>3. ZAKLJUČCI I PREPORUKE - Mikrosolar</vt:lpstr>
      <vt:lpstr>3. ZAKLJUČCI I PREPORUKE - Mikrosolar</vt:lpstr>
      <vt:lpstr>3. ZAKLJUČCI I PREPORUKE - Plinska elektrana na brodske motore</vt:lpstr>
      <vt:lpstr>3. ZAKLJUČCI I PREPORUKE – RHE Jasenice</vt:lpstr>
      <vt:lpstr>Pokrenimo Obnovljivu Republiku Hrvatsk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slov</dc:title>
  <dc:creator>Goga Golik</dc:creator>
  <cp:lastModifiedBy>Maja Stanojević Pokrovac</cp:lastModifiedBy>
  <cp:revision>183</cp:revision>
  <dcterms:created xsi:type="dcterms:W3CDTF">2011-05-25T09:52:59Z</dcterms:created>
  <dcterms:modified xsi:type="dcterms:W3CDTF">2014-06-18T13:46:09Z</dcterms:modified>
</cp:coreProperties>
</file>